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3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4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theme/theme7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8.xml" ContentType="application/vnd.openxmlformats-officedocument.theme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66" r:id="rId2"/>
    <p:sldMasterId id="2147483704" r:id="rId3"/>
    <p:sldMasterId id="2147483738" r:id="rId4"/>
    <p:sldMasterId id="2147483778" r:id="rId5"/>
    <p:sldMasterId id="2147483815" r:id="rId6"/>
    <p:sldMasterId id="2147483819" r:id="rId7"/>
    <p:sldMasterId id="2147483863" r:id="rId8"/>
    <p:sldMasterId id="2147483876" r:id="rId9"/>
  </p:sldMasterIdLst>
  <p:notesMasterIdLst>
    <p:notesMasterId r:id="rId25"/>
  </p:notesMasterIdLst>
  <p:sldIdLst>
    <p:sldId id="3078" r:id="rId10"/>
    <p:sldId id="3052" r:id="rId11"/>
    <p:sldId id="3111" r:id="rId12"/>
    <p:sldId id="1307" r:id="rId13"/>
    <p:sldId id="7572" r:id="rId14"/>
    <p:sldId id="7420" r:id="rId15"/>
    <p:sldId id="7576" r:id="rId16"/>
    <p:sldId id="7573" r:id="rId17"/>
    <p:sldId id="7407" r:id="rId18"/>
    <p:sldId id="3350" r:id="rId19"/>
    <p:sldId id="2134807015" r:id="rId20"/>
    <p:sldId id="2134807016" r:id="rId21"/>
    <p:sldId id="2134807010" r:id="rId22"/>
    <p:sldId id="7414" r:id="rId23"/>
    <p:sldId id="3069" r:id="rId2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A76BC"/>
    <a:srgbClr val="432F91"/>
    <a:srgbClr val="0F173C"/>
    <a:srgbClr val="01A2AC"/>
    <a:srgbClr val="12173C"/>
    <a:srgbClr val="6D2352"/>
    <a:srgbClr val="76D6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746"/>
    <p:restoredTop sz="95646"/>
  </p:normalViewPr>
  <p:slideViewPr>
    <p:cSldViewPr snapToGrid="0" snapToObjects="1">
      <p:cViewPr varScale="1">
        <p:scale>
          <a:sx n="111" d="100"/>
          <a:sy n="111" d="100"/>
        </p:scale>
        <p:origin x="240" y="3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C8211A-FAE4-BC4E-8DA5-0B2A96CE0E4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6886-BBB4-3A49-B5A1-7596055DF1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5206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P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B6886-BBB4-3A49-B5A1-7596055DF13A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730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988AF-9D63-4871-B031-756E006CFD7D}" type="slidenum">
              <a:rPr lang="en-IN" smtClean="0"/>
              <a:t>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879620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4B6886-BBB4-3A49-B5A1-7596055DF13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18866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65467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915395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4988AF-9D63-4871-B031-756E006CFD7D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745825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3 billion monthly users – May eMarketer survey</a:t>
            </a:r>
          </a:p>
          <a:p>
            <a:pPr marL="0" marR="0" lvl="0" indent="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0" marR="0" lvl="0" indent="0" defTabSz="457200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January assessment by Statista to assess the worlds most popular mobile messaging apps. </a:t>
            </a:r>
          </a:p>
          <a:p>
            <a:pPr lvl="0"/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https://</a:t>
            </a:r>
            <a:r>
              <a:rPr lang="en-US" sz="2200" dirty="0" err="1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www.statista.com</a:t>
            </a:r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/statistics/258749/most-popular-global-mobile-messenger-apps/ </a:t>
            </a:r>
          </a:p>
          <a:p>
            <a:pPr lvl="0"/>
            <a:endParaRPr lang="en-US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lvl="0"/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According to Facebook there are about 100bn daily messaging sent</a:t>
            </a:r>
          </a:p>
          <a:p>
            <a:pPr lvl="0"/>
            <a:endParaRPr lang="en-US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lvl="0"/>
            <a:endParaRPr lang="en-US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lvl="0"/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2020 survey conducted by Statista, indicates that 32% of adults living in the U.S. are using Facebook Messenger, with another 20% using Instagram. </a:t>
            </a:r>
          </a:p>
          <a:p>
            <a:pPr lvl="0"/>
            <a:endParaRPr lang="en-US" sz="2200" dirty="0">
              <a:effectLst/>
              <a:latin typeface="Helvetica Neue"/>
              <a:ea typeface="Helvetica Neue"/>
              <a:cs typeface="Helvetica Neue"/>
              <a:sym typeface="Helvetica Neue"/>
            </a:endParaRPr>
          </a:p>
          <a:p>
            <a:pPr lvl="0"/>
            <a:r>
              <a:rPr lang="en-US" sz="2200" dirty="0">
                <a:effectLst/>
                <a:latin typeface="Helvetica Neue"/>
                <a:ea typeface="Helvetica Neue"/>
                <a:cs typeface="Helvetica Neue"/>
                <a:sym typeface="Helvetica Neue"/>
              </a:rPr>
              <a:t>As of fall 2020 What’s App was the world’s most-used messaging app. It and it’s corporate sibling, Facebook Messenger  are growing by 30% year over year. There are only 10 countries in the world where a FB app isn’t leading the market. </a:t>
            </a:r>
          </a:p>
          <a:p>
            <a:pPr lvl="0"/>
            <a:r>
              <a:rPr lang="en-US" dirty="0"/>
              <a:t>https://</a:t>
            </a:r>
            <a:r>
              <a:rPr lang="en-US" dirty="0" err="1"/>
              <a:t>www.businessofapps.com</a:t>
            </a:r>
            <a:r>
              <a:rPr lang="en-US" dirty="0"/>
              <a:t>/data/</a:t>
            </a:r>
            <a:r>
              <a:rPr lang="en-US" dirty="0" err="1"/>
              <a:t>whatsapp</a:t>
            </a:r>
            <a:r>
              <a:rPr lang="en-US" dirty="0"/>
              <a:t>-statistics/</a:t>
            </a:r>
          </a:p>
          <a:p>
            <a:pPr lvl="0"/>
            <a:endParaRPr lang="en-US" dirty="0"/>
          </a:p>
          <a:p>
            <a:pPr lvl="0"/>
            <a:r>
              <a:rPr lang="en-US" dirty="0"/>
              <a:t>Mobile marketing magazine tells us that mobile messaging uses increased during the pandemic</a:t>
            </a:r>
          </a:p>
          <a:p>
            <a:pPr lvl="0"/>
            <a:r>
              <a:rPr lang="en-US" dirty="0"/>
              <a:t>https://</a:t>
            </a:r>
            <a:r>
              <a:rPr lang="en-US" dirty="0" err="1"/>
              <a:t>mobilemarketingmagazine.com</a:t>
            </a:r>
            <a:r>
              <a:rPr lang="en-US" dirty="0"/>
              <a:t>/mobile-messaging-in-2021</a:t>
            </a:r>
          </a:p>
          <a:p>
            <a:pPr lvl="0"/>
            <a:endParaRPr lang="en-US" dirty="0"/>
          </a:p>
          <a:p>
            <a:pPr lvl="0"/>
            <a:r>
              <a:rPr lang="en-US" dirty="0" err="1"/>
              <a:t>Conversocial</a:t>
            </a:r>
            <a:r>
              <a:rPr lang="en-US" dirty="0"/>
              <a:t> says that 68% of consumers communicated with brands via messaging. </a:t>
            </a:r>
          </a:p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511478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algn="l" fontAlgn="ctr">
              <a:lnSpc>
                <a:spcPct val="107000"/>
              </a:lnSpc>
              <a:tabLst>
                <a:tab pos="457200" algn="l"/>
              </a:tabLst>
            </a:pPr>
            <a:r>
              <a:rPr lang="en-US" sz="280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Consistent messaging across your users' preferred channels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Continuous conversational flows from channel-to-channel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No need for repeated chat configurations after you define the message flow</a:t>
            </a:r>
          </a:p>
          <a:p>
            <a:pPr lvl="0" algn="l" fontAlgn="ctr">
              <a:lnSpc>
                <a:spcPct val="107000"/>
              </a:lnSpc>
              <a:tabLst>
                <a:tab pos="457200" algn="l"/>
              </a:tabLst>
            </a:pPr>
            <a:endParaRPr lang="en-US" sz="2800" b="0" dirty="0">
              <a:solidFill>
                <a:srgbClr val="333E47"/>
              </a:solidFill>
              <a:latin typeface="Helvetica"/>
              <a:cs typeface="Helvetica"/>
              <a:sym typeface="Helvetica"/>
            </a:endParaRPr>
          </a:p>
          <a:p>
            <a:pPr lvl="0" algn="l" fontAlgn="ctr">
              <a:lnSpc>
                <a:spcPct val="107000"/>
              </a:lnSpc>
              <a:tabLst>
                <a:tab pos="457200" algn="l"/>
              </a:tabLst>
            </a:pPr>
            <a:r>
              <a:rPr lang="en-US" sz="280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Streamline customer service with one API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Design </a:t>
            </a:r>
            <a:r>
              <a:rPr lang="en-US" sz="2800" dirty="0">
                <a:solidFill>
                  <a:srgbClr val="5C068B"/>
                </a:solidFill>
                <a:latin typeface="Helvetica"/>
                <a:cs typeface="Helvetica"/>
                <a:sym typeface="Helvetica"/>
              </a:rPr>
              <a:t>interactive chats </a:t>
            </a: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for customer-driven questions 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Automate FAQs and simplify Q&amp;A, saving time and overhead</a:t>
            </a:r>
          </a:p>
          <a:p>
            <a:pPr lvl="0" algn="l" fontAlgn="ctr">
              <a:lnSpc>
                <a:spcPct val="107000"/>
              </a:lnSpc>
              <a:tabLst>
                <a:tab pos="457200" algn="l"/>
              </a:tabLst>
            </a:pPr>
            <a:b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</a:br>
            <a:r>
              <a:rPr lang="en-US" sz="280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Build the message once. Hand over access across tools, agents and bots 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Pass conversation histories to your support team</a:t>
            </a:r>
          </a:p>
          <a:p>
            <a:pPr marL="9144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en-US" sz="2800" dirty="0">
                <a:solidFill>
                  <a:srgbClr val="7030A0"/>
                </a:solidFill>
                <a:latin typeface="Helvetica"/>
                <a:cs typeface="Helvetica"/>
                <a:sym typeface="Helvetica"/>
              </a:rPr>
              <a:t>Reduce the amount of manual handoffs </a:t>
            </a:r>
            <a:r>
              <a:rPr lang="en-US" sz="2800" b="0" dirty="0">
                <a:solidFill>
                  <a:srgbClr val="333E47"/>
                </a:solidFill>
                <a:latin typeface="Helvetica"/>
                <a:cs typeface="Helvetica"/>
                <a:sym typeface="Helvetica"/>
              </a:rPr>
              <a:t>by assigning handover rules in your contact center</a:t>
            </a:r>
          </a:p>
          <a:p>
            <a:endParaRPr lang="en-US" dirty="0"/>
          </a:p>
          <a:p>
            <a:pPr marL="13716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1828800" algn="l"/>
              </a:tabLst>
            </a:pPr>
            <a:endParaRPr lang="en-US" sz="3200" b="0" dirty="0">
              <a:solidFill>
                <a:srgbClr val="333E47"/>
              </a:solidFill>
              <a:latin typeface="Helvetica"/>
              <a:cs typeface="Helvetica"/>
              <a:sym typeface="Helvetica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Cut cost</a:t>
            </a: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Increase efficiencies</a:t>
            </a: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Increase customer satisfaction</a:t>
            </a: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24/7 availability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Handling capacity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Automate repetitive inquiries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Eliminate errors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Improve navigation and product accessibility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Personalization</a:t>
            </a:r>
            <a:endParaRPr lang="en-US" sz="2800" dirty="0">
              <a:latin typeface="Helvetica" pitchFamily="2" charset="0"/>
            </a:endParaRPr>
          </a:p>
          <a:p>
            <a:pPr marL="694944" indent="-694944">
              <a:lnSpc>
                <a:spcPct val="10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latin typeface="Helvetica" pitchFamily="2" charset="0"/>
              </a:rPr>
              <a:t>A gold mine of customer data and feedback</a:t>
            </a:r>
            <a:endParaRPr lang="en-US" sz="2800" dirty="0">
              <a:latin typeface="Helvetica" pitchFamily="2" charset="0"/>
            </a:endParaRPr>
          </a:p>
          <a:p>
            <a:pPr marL="1371600" lvl="1" indent="-457200" algn="l" fontAlgn="ctr">
              <a:lnSpc>
                <a:spcPct val="107000"/>
              </a:lnSpc>
              <a:buFont typeface="Arial" panose="020B0604020202020204" pitchFamily="34" charset="0"/>
              <a:buChar char="•"/>
              <a:tabLst>
                <a:tab pos="1828800" algn="l"/>
              </a:tabLst>
            </a:pPr>
            <a:endParaRPr lang="en-US" sz="3200" b="0" dirty="0">
              <a:solidFill>
                <a:srgbClr val="333E47"/>
              </a:solidFill>
              <a:latin typeface="Helvetica"/>
              <a:cs typeface="Helvetica"/>
              <a:sym typeface="Helvetica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671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NUL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2.png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5.pn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emf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9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21.emf"/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2.emf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32.emf"/></Relationships>
</file>

<file path=ppt/slideLayouts/_rels/slideLayout2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20.emf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21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2.tif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svg"/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svg"/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emf"/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gif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34731" y="4926525"/>
            <a:ext cx="3166735" cy="964076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0" y="0"/>
            <a:ext cx="12192000" cy="4356340"/>
          </a:xfrm>
          <a:prstGeom prst="rect">
            <a:avLst/>
          </a:pr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31813" y="1237202"/>
            <a:ext cx="5657850" cy="1279525"/>
          </a:xfrm>
        </p:spPr>
        <p:txBody>
          <a:bodyPr vert="horz" lIns="91440" tIns="45720" rIns="91440" bIns="45720" rtlCol="0" anchor="b">
            <a:noAutofit/>
          </a:bodyPr>
          <a:lstStyle>
            <a:lvl1pPr>
              <a:defRPr lang="en-US" sz="44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342906" lvl="0" indent="-57150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/>
              <a:t>PRESENTATION </a:t>
            </a:r>
          </a:p>
          <a:p>
            <a:pPr marL="342906" lvl="0" indent="-571500">
              <a:lnSpc>
                <a:spcPct val="80000"/>
              </a:lnSpc>
              <a:spcBef>
                <a:spcPct val="0"/>
              </a:spcBef>
              <a:buNone/>
            </a:pPr>
            <a:r>
              <a:rPr lang="en-US" dirty="0"/>
              <a:t>TITLE</a:t>
            </a:r>
          </a:p>
        </p:txBody>
      </p:sp>
      <p:cxnSp>
        <p:nvCxnSpPr>
          <p:cNvPr id="22" name="Straight Connector 21"/>
          <p:cNvCxnSpPr/>
          <p:nvPr userDrawn="1"/>
        </p:nvCxnSpPr>
        <p:spPr>
          <a:xfrm>
            <a:off x="529114" y="2812354"/>
            <a:ext cx="6301596" cy="0"/>
          </a:xfrm>
          <a:prstGeom prst="line">
            <a:avLst/>
          </a:prstGeom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531813" y="2947460"/>
            <a:ext cx="5657850" cy="1279525"/>
          </a:xfrm>
        </p:spPr>
        <p:txBody>
          <a:bodyPr vert="horz" lIns="91440" tIns="45720" rIns="91440" bIns="45720" rtlCol="0" anchor="t">
            <a:noAutofit/>
          </a:bodyPr>
          <a:lstStyle>
            <a:lvl1pPr marL="0" indent="0">
              <a:buNone/>
              <a:defRPr lang="en-US" sz="360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228606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342906" lvl="0" indent="-57150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Subhead</a:t>
            </a:r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2" hasCustomPrompt="1"/>
          </p:nvPr>
        </p:nvSpPr>
        <p:spPr>
          <a:xfrm>
            <a:off x="531813" y="5192945"/>
            <a:ext cx="2811462" cy="89693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600">
                <a:solidFill>
                  <a:schemeClr val="bg2"/>
                </a:solidFill>
              </a:defRPr>
            </a:lvl1pPr>
          </a:lstStyle>
          <a:p>
            <a:r>
              <a:rPr lang="en-IN" dirty="0"/>
              <a:t>Insert Additional Logo(s) Required Her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31812" y="4554717"/>
            <a:ext cx="2811463" cy="562803"/>
          </a:xfrm>
        </p:spPr>
        <p:txBody>
          <a:bodyPr vert="horz" lIns="91440" tIns="45720" rIns="91440" bIns="45720" rtlCol="0" anchor="b">
            <a:noAutofit/>
          </a:bodyPr>
          <a:lstStyle>
            <a:lvl1pPr marL="0" indent="0">
              <a:buNone/>
              <a:defRPr lang="en-US" sz="2000" b="1" smtClean="0">
                <a:solidFill>
                  <a:srgbClr val="0072BA"/>
                </a:solidFill>
                <a:latin typeface="+mj-lt"/>
                <a:ea typeface="+mj-ea"/>
                <a:cs typeface="+mj-cs"/>
              </a:defRPr>
            </a:lvl1pPr>
            <a:lvl2pPr marL="228606" indent="0">
              <a:buNone/>
              <a:defRPr lang="en-US" sz="1800" smtClean="0"/>
            </a:lvl2pPr>
            <a:lvl3pPr>
              <a:defRPr lang="en-US" sz="1800" smtClean="0"/>
            </a:lvl3pPr>
            <a:lvl4pPr>
              <a:defRPr lang="en-US" smtClean="0"/>
            </a:lvl4pPr>
            <a:lvl5pPr>
              <a:defRPr lang="en-IN"/>
            </a:lvl5pPr>
          </a:lstStyle>
          <a:p>
            <a:pPr marL="228606" lvl="0" indent="-457200">
              <a:lnSpc>
                <a:spcPct val="80000"/>
              </a:lnSpc>
              <a:spcBef>
                <a:spcPct val="0"/>
              </a:spcBef>
            </a:pPr>
            <a:r>
              <a:rPr lang="en-US" dirty="0"/>
              <a:t>Click to edit </a:t>
            </a:r>
          </a:p>
        </p:txBody>
      </p:sp>
    </p:spTree>
    <p:extLst>
      <p:ext uri="{BB962C8B-B14F-4D97-AF65-F5344CB8AC3E}">
        <p14:creationId xmlns:p14="http://schemas.microsoft.com/office/powerpoint/2010/main" val="3658334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91956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80510948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83178664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253395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1999436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529505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90529894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94446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782745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259230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58952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tabLst/>
              <a:defRPr/>
            </a:lvl3pPr>
            <a:lvl4pPr marL="0" indent="0">
              <a:spcBef>
                <a:spcPts val="0"/>
              </a:spcBef>
              <a:buNone/>
              <a:tabLst/>
              <a:defRPr/>
            </a:lvl4pPr>
            <a:lvl5pPr marL="0" indent="0">
              <a:spcBef>
                <a:spcPts val="0"/>
              </a:spcBef>
              <a:buNone/>
              <a:tabLst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7749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3625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ig text only (48 pt)">
  <p:cSld name="1_Big text only (48 pt)">
    <p:bg>
      <p:bgPr>
        <a:solidFill>
          <a:schemeClr val="accent3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xfrm>
            <a:off x="460109" y="6456704"/>
            <a:ext cx="102400" cy="1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125" name="Google Shape;125;p21" descr="Picture 49"/>
          <p:cNvPicPr preferRelativeResize="0"/>
          <p:nvPr/>
        </p:nvPicPr>
        <p:blipFill rotWithShape="1">
          <a:blip r:embed="rId2" cstate="screen">
            <a:alphaModFix amt="586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0085" y="536045"/>
            <a:ext cx="6792000" cy="632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6381586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801"/>
            <a:ext cx="695452" cy="281940"/>
          </a:xfrm>
          <a:prstGeom prst="rect">
            <a:avLst/>
          </a:prstGeom>
        </p:spPr>
      </p:pic>
      <p:pic>
        <p:nvPicPr>
          <p:cNvPr id="6" name="Picture 5" descr="ibm_gry.pn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3249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289203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98509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705976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3864480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251749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291137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0496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7002615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8001726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589609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231584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759903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52990475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94987143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89281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99617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666264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318116510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788549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Picture Placeholder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3598129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9673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56033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2228658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895812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2631163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258064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4710948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39315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16296233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428021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890638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19811020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15189965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730869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2560510661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201438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08637922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0910800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09053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315663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58634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33331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8833687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539918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0029488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56536822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6868843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83184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78737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7896079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774573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9123920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551231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47316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270499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585804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312891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15474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2840778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2263943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53572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87297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012803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601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3215120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86054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9904600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8074039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16399482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352800" y="889000"/>
            <a:ext cx="8534400" cy="509905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2040517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88651"/>
            <a:ext cx="2438400" cy="4605867"/>
          </a:xfrm>
        </p:spPr>
        <p:txBody>
          <a:bodyPr/>
          <a:lstStyle>
            <a:lvl1pPr>
              <a:defRPr sz="1867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6147048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: title, text (2/4), content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2665429095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9336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304800" y="1463040"/>
            <a:ext cx="2438400" cy="4669536"/>
          </a:xfrm>
        </p:spPr>
        <p:txBody>
          <a:bodyPr/>
          <a:lstStyle>
            <a:lvl1pPr>
              <a:defRPr sz="2133"/>
            </a:lvl1pPr>
            <a:lvl2pPr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352800" y="1499616"/>
            <a:ext cx="2438400" cy="4608576"/>
          </a:xfrm>
        </p:spPr>
        <p:txBody>
          <a:bodyPr/>
          <a:lstStyle>
            <a:lvl1pPr>
              <a:defRPr sz="1867"/>
            </a:lvl1pPr>
            <a:lvl2pPr marL="0" indent="0">
              <a:buNone/>
              <a:defRPr sz="1333"/>
            </a:lvl2pPr>
            <a:lvl3pPr>
              <a:defRPr sz="1333"/>
            </a:lvl3pPr>
            <a:lvl4pPr>
              <a:defRPr sz="1333"/>
            </a:lvl4pPr>
            <a:lvl5pPr>
              <a:defRPr sz="1333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6267189" y="1454615"/>
            <a:ext cx="5620011" cy="4608576"/>
          </a:xfrm>
        </p:spPr>
        <p:txBody>
          <a:bodyPr/>
          <a:lstStyle>
            <a:lvl1pPr marL="156629" indent="-156629">
              <a:tabLst/>
              <a:defRPr sz="3200"/>
            </a:lvl1pPr>
            <a:lvl2pPr marL="0" indent="0"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401120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256033"/>
            <a:ext cx="2438400" cy="5878660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3352800" y="300567"/>
            <a:ext cx="8534400" cy="6129867"/>
          </a:xfrm>
        </p:spPr>
        <p:txBody>
          <a:bodyPr/>
          <a:lstStyle/>
          <a:p>
            <a:r>
              <a:rPr lang="en-US"/>
              <a:t>Click icon to add table</a:t>
            </a:r>
          </a:p>
        </p:txBody>
      </p:sp>
    </p:spTree>
    <p:extLst>
      <p:ext uri="{BB962C8B-B14F-4D97-AF65-F5344CB8AC3E}">
        <p14:creationId xmlns:p14="http://schemas.microsoft.com/office/powerpoint/2010/main" val="1660513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65427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332071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65971221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5240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 sz="1467"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7777823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Group Name / DOC ID / Month XX, 2017 / © 2017 IBM Corporation</a:t>
            </a:r>
            <a:endParaRPr lang="en-US"/>
          </a:p>
        </p:txBody>
      </p:sp>
      <p:pic>
        <p:nvPicPr>
          <p:cNvPr id="5" name="Picture 4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4" y="2914867"/>
            <a:ext cx="1730144" cy="7014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4646826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ctrTitle"/>
          </p:nvPr>
        </p:nvSpPr>
        <p:spPr>
          <a:xfrm>
            <a:off x="415611" y="992767"/>
            <a:ext cx="11360800" cy="27368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2pPr>
            <a:lvl3pPr lvl="2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3pPr>
            <a:lvl4pPr lvl="3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4pPr>
            <a:lvl5pPr lvl="4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5pPr>
            <a:lvl6pPr lvl="5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6pPr>
            <a:lvl7pPr lvl="6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7pPr>
            <a:lvl8pPr lvl="7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8pPr>
            <a:lvl9pPr lvl="8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6933"/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ubTitle" idx="1"/>
          </p:nvPr>
        </p:nvSpPr>
        <p:spPr>
          <a:xfrm>
            <a:off x="415600" y="3778833"/>
            <a:ext cx="11360800" cy="10568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156135645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69B53-C044-E849-A656-B0C242E05C40}" type="datetimeFigureOut">
              <a:rPr lang="en-US" smtClean="0"/>
              <a:t>5/19/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CCBCEC0-DA4A-E342-9BAC-EB1D61DB53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9760096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Big text only (48 pt)">
  <p:cSld name="1_Big text only (48 pt)">
    <p:bg>
      <p:bgPr>
        <a:solidFill>
          <a:schemeClr val="accent3"/>
        </a:solidFill>
        <a:effectLst/>
      </p:bgPr>
    </p:bg>
    <p:spTree>
      <p:nvGrpSpPr>
        <p:cNvPr id="1" name="Shape 1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Google Shape;124;p21"/>
          <p:cNvSpPr txBox="1">
            <a:spLocks noGrp="1"/>
          </p:cNvSpPr>
          <p:nvPr>
            <p:ph type="sldNum" idx="12"/>
          </p:nvPr>
        </p:nvSpPr>
        <p:spPr>
          <a:xfrm>
            <a:off x="460109" y="6456704"/>
            <a:ext cx="102400" cy="10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Font typeface="Arial"/>
              <a:buNone/>
              <a:defRPr sz="667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  <p:pic>
        <p:nvPicPr>
          <p:cNvPr id="125" name="Google Shape;125;p21" descr="Picture 49"/>
          <p:cNvPicPr preferRelativeResize="0"/>
          <p:nvPr/>
        </p:nvPicPr>
        <p:blipFill rotWithShape="1">
          <a:blip r:embed="rId2" cstate="screen">
            <a:alphaModFix amt="586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400085" y="536045"/>
            <a:ext cx="6792000" cy="6322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17689474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6FE4CF-00CD-754C-93CA-EBADCF011E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0E0E14F-79BD-8E4B-A0CF-89CD7E9FB99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B80D4D-1350-1047-9A8B-5097F75EBA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BE585A-4E8B-D343-AC8B-FC69B610F3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DF3CA4C-2650-DA42-9E75-D68B769E35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350771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EFFC36-FA27-7D43-B8A5-AF8C707609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108B1D-31AD-DC41-B847-0E80CC2C3E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E6367C-A2C5-1F41-B3C7-06CEB6AF10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C0D47EA-571C-D040-81E7-7C404E39F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C7492C-D8AF-6D49-9CDA-0FA6663835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004086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1FBF10-C02B-9440-8CEE-762B41FBE0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7BA7FF-0529-E844-BA8A-B279BD67E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06CABF-5030-FE49-820D-64DBCEC4C2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52744-756D-E446-BD8D-612CE77B57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C54C3BE-6FCB-4D4B-BDF4-95843592C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7952136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AA5A13-18C6-264C-B054-19473BDD50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D54E62-F575-AD49-B1CE-5EE55212D46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E675A5E-B4E4-2642-99B6-7AB763B29CB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C23CA50-C70B-6F45-9E79-5E673A9F92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2E8A1C-BF68-184C-9C25-6697B6CE62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9FB3F50-9A13-3C4D-8F82-6A8C0EF7B9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31107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1530457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7AEDC1-BEED-FA46-8DD8-FEFF23139F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06257C-239B-9F47-B509-61216A5C6E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819AAA-8C57-E84F-8763-CE3BF956540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83C61-D479-F549-811E-74D4B274715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8F14F3E-603A-E048-94B6-1EDFE3ABA8E5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E887B48-8288-9442-A0C0-A446A4CFB9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F4A96F-77C8-1C47-AB5A-0122FBB450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A4690EED-AF05-1149-A728-23030B9239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7337942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7E9D0-9F42-E443-AB53-BBA575CEFA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0B4D9C6-7E75-494B-A056-9D166C4918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0B66EDC-CA7C-2E47-8672-CC60D893F1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FF74F3E-4614-B942-8CB4-838B464B66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130982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F50A67E-0024-8744-9B47-864C93843F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81A5BA9-73C4-BE4F-A343-DB6ACB9D68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2DF3FEA-50B4-7F4D-B358-0FE40E0AB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52129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778E2E-E408-994D-9C00-E00E10450D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2C037D-D557-9F4B-A969-AF3B1BEC913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F81B05-54D1-394E-9566-B9873EB7CBC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98DEABD-D03A-5646-B8B7-B47154D130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2B6BC6-AF4D-A541-A667-9CF224C31D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B08B98-6EAC-7D43-8569-38377ECA4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12096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A9FD07-DDC6-E344-916B-EDAF5A090F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D1BF758-BACE-BA47-972F-462386AACA68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17E976-6127-6C4A-AE01-7CA8C1EC31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A0C5E5A-AC1D-F34D-AC9F-5E046D5659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BC3F698-6F36-1A4B-82CC-2546B3003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842FD85-E5AE-F543-AEBC-AAD43B7FBD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41908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47CDC3-14C8-BC40-9EA5-8B051C1009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A24EA33-ACF6-A249-8B87-9572206AD1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98AC86-0DC2-664E-BB02-D25751241D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D94C01-A09E-DC4B-A8A5-23D5E6527D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8E0F66-F8A1-2445-94E7-B1105A9CE5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05221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64B2C5-E4BC-1B44-8905-FC48BEE08A3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0B60F68-8DC8-9943-9262-2D2EA13EE3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F732D4-188B-1B4F-AAC4-DE1CBE45A1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F83EEBE-9C54-B94B-AAA9-A43D2B9EC4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1B3C65-AC7F-E549-A3D7-3870125BB6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6783457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ro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6" name="Click to edit subtitle, can span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816100" y="3356254"/>
            <a:ext cx="3505945" cy="660401"/>
          </a:xfrm>
          <a:prstGeom prst="rect">
            <a:avLst/>
          </a:prstGeom>
        </p:spPr>
        <p:txBody>
          <a:bodyPr/>
          <a:lstStyle/>
          <a:p>
            <a:r>
              <a:t>Click to edit subtitle, can span up to 3 lines</a:t>
            </a:r>
          </a:p>
        </p:txBody>
      </p:sp>
      <p:sp>
        <p:nvSpPr>
          <p:cNvPr id="6" name="DATE 2019">
            <a:extLst>
              <a:ext uri="{FF2B5EF4-FFF2-40B4-BE49-F238E27FC236}">
                <a16:creationId xmlns:a16="http://schemas.microsoft.com/office/drawing/2014/main" id="{B9D00468-465D-3C4E-BD3A-1F014FBD16C9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 rot="16200000">
            <a:off x="-484587" y="1235466"/>
            <a:ext cx="1735537" cy="22224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lnSpc>
                <a:spcPct val="110000"/>
              </a:lnSpc>
              <a:defRPr sz="800" b="1" cap="all" spc="240"/>
            </a:lvl1pPr>
          </a:lstStyle>
          <a:p>
            <a:r>
              <a:t>DATE 2019 </a:t>
            </a:r>
          </a:p>
        </p:txBody>
      </p:sp>
      <p:sp>
        <p:nvSpPr>
          <p:cNvPr id="5" name="Copyright © 2019 Sinch. All rights reserved. NDA Confidential.">
            <a:extLst>
              <a:ext uri="{FF2B5EF4-FFF2-40B4-BE49-F238E27FC236}">
                <a16:creationId xmlns:a16="http://schemas.microsoft.com/office/drawing/2014/main" id="{DC4E507F-A249-C248-820F-44210D4535D0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rgbClr val="414B53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4918354"/>
      </p:ext>
    </p:extLst>
  </p:cSld>
  <p:clrMapOvr>
    <a:masterClrMapping/>
  </p:clrMapOvr>
  <p:transition spd="med"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 Purple">
    <p:bg>
      <p:bgPr>
        <a:solidFill>
          <a:srgbClr val="5C07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4C3C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26" name="Click to edit subtitle, can span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816100" y="3356254"/>
            <a:ext cx="3505945" cy="6604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Click to edit subtitle, can span up to 3 lines</a:t>
            </a:r>
          </a:p>
        </p:txBody>
      </p:sp>
      <p:sp>
        <p:nvSpPr>
          <p:cNvPr id="8" name="DATE 2019">
            <a:extLst>
              <a:ext uri="{FF2B5EF4-FFF2-40B4-BE49-F238E27FC236}">
                <a16:creationId xmlns:a16="http://schemas.microsoft.com/office/drawing/2014/main" id="{A2972EA8-9FBC-5744-B7F4-4694820AA780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 rot="16200000">
            <a:off x="-484587" y="1235466"/>
            <a:ext cx="1735537" cy="22224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lnSpc>
                <a:spcPct val="110000"/>
              </a:lnSpc>
              <a:defRPr sz="800" b="1" cap="all" spc="240">
                <a:solidFill>
                  <a:schemeClr val="bg1"/>
                </a:solidFill>
              </a:defRPr>
            </a:lvl1pPr>
          </a:lstStyle>
          <a:p>
            <a:r>
              <a:t>DATE 2019 </a:t>
            </a:r>
          </a:p>
        </p:txBody>
      </p:sp>
      <p:sp>
        <p:nvSpPr>
          <p:cNvPr id="7" name="Copyright © 2019 Sinch. All rights reserved. NDA Confidential.">
            <a:extLst>
              <a:ext uri="{FF2B5EF4-FFF2-40B4-BE49-F238E27FC236}">
                <a16:creationId xmlns:a16="http://schemas.microsoft.com/office/drawing/2014/main" id="{F1293FF5-1A86-F847-9420-58822A3546B2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</a:t>
            </a:r>
            <a:r>
              <a:rPr lang="en-US" sz="400">
                <a:solidFill>
                  <a:schemeClr val="bg1"/>
                </a:solidFill>
              </a:rPr>
              <a:t>20</a:t>
            </a:r>
            <a:r>
              <a:rPr sz="400">
                <a:solidFill>
                  <a:schemeClr val="bg1"/>
                </a:solidFill>
              </a:rPr>
              <a:t> Sinch. All rights reserved. NDA Confidential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63652FA-58A4-B041-B8BB-B9C77482DDA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498942"/>
      </p:ext>
    </p:extLst>
  </p:cSld>
  <p:clrMapOvr>
    <a:masterClrMapping/>
  </p:clrMapOvr>
  <p:transition spd="med"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ext 2 Column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</a:t>
            </a:r>
            <a:r>
              <a:rPr lang="en-US" sz="400"/>
              <a:t>21</a:t>
            </a:r>
            <a:r>
              <a:rPr sz="400"/>
              <a:t> Sinch. All rights reserved. NDA Confidential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1E4EF9-3CE8-F846-91EA-E38C09E510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EFF97C-A33A-7B43-84CD-A92115C061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4" name="Rectangle">
            <a:extLst>
              <a:ext uri="{FF2B5EF4-FFF2-40B4-BE49-F238E27FC236}">
                <a16:creationId xmlns:a16="http://schemas.microsoft.com/office/drawing/2014/main" id="{7E327417-2C15-384E-AF86-3530744DAFB0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4250067322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Bullet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10D6295-3F87-40BB-8B66-635CB4AA024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10D6295-3F87-40BB-8B66-635CB4AA024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3FC39E2-F90C-461F-A6D7-1E7FA3E45A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81075" y="1435372"/>
            <a:ext cx="10893425" cy="4414565"/>
          </a:xfrm>
        </p:spPr>
        <p:txBody>
          <a:bodyPr>
            <a:normAutofit/>
          </a:bodyPr>
          <a:lstStyle>
            <a:lvl1pPr marL="457200" indent="-457200">
              <a:spcBef>
                <a:spcPts val="600"/>
              </a:spcBef>
              <a:buFontTx/>
              <a:buBlip>
                <a:blip r:embed="rId6"/>
              </a:buBlip>
              <a:defRPr sz="3200">
                <a:solidFill>
                  <a:schemeClr val="bg2"/>
                </a:solidFill>
              </a:defRPr>
            </a:lvl1pPr>
            <a:lvl2pPr>
              <a:buClr>
                <a:srgbClr val="0070B7"/>
              </a:buClr>
              <a:defRPr sz="2800">
                <a:solidFill>
                  <a:schemeClr val="bg2"/>
                </a:solidFill>
              </a:defRPr>
            </a:lvl2pPr>
            <a:lvl3pPr>
              <a:buClr>
                <a:srgbClr val="0070B7"/>
              </a:buClr>
              <a:defRPr sz="2400">
                <a:solidFill>
                  <a:schemeClr val="bg2"/>
                </a:solidFill>
              </a:defRPr>
            </a:lvl3pPr>
            <a:lvl4pPr>
              <a:buClr>
                <a:srgbClr val="0070B7"/>
              </a:buClr>
              <a:defRPr sz="2000">
                <a:solidFill>
                  <a:schemeClr val="bg2"/>
                </a:solidFill>
              </a:defRPr>
            </a:lvl4pPr>
            <a:lvl5pPr>
              <a:buClr>
                <a:srgbClr val="0070B7"/>
              </a:buClr>
              <a:defRPr sz="1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3600" b="1">
                <a:solidFill>
                  <a:srgbClr val="1B75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276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613113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081107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ext 2 Column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</a:t>
            </a:r>
            <a:r>
              <a:rPr lang="en-US" sz="400"/>
              <a:t>021</a:t>
            </a:r>
            <a:r>
              <a:rPr sz="400"/>
              <a:t> Sinch. All rights reserved. NDA Confidential.</a:t>
            </a:r>
          </a:p>
        </p:txBody>
      </p:sp>
      <p:sp>
        <p:nvSpPr>
          <p:cNvPr id="93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1E4EF9-3CE8-F846-91EA-E38C09E510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EFF97C-A33A-7B43-84CD-A92115C061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4" name="Rectangle">
            <a:extLst>
              <a:ext uri="{FF2B5EF4-FFF2-40B4-BE49-F238E27FC236}">
                <a16:creationId xmlns:a16="http://schemas.microsoft.com/office/drawing/2014/main" id="{7E327417-2C15-384E-AF86-3530744DAFB0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2194307519"/>
      </p:ext>
    </p:extLst>
  </p:cSld>
  <p:clrMapOvr>
    <a:masterClrMapping/>
  </p:clrMapOvr>
  <p:transition spd="med"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ext 2 Column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92" name="Double-Click to edit subtitle"/>
          <p:cNvSpPr txBox="1">
            <a:spLocks noGrp="1"/>
          </p:cNvSpPr>
          <p:nvPr>
            <p:ph type="body" sz="quarter" idx="13"/>
          </p:nvPr>
        </p:nvSpPr>
        <p:spPr>
          <a:xfrm>
            <a:off x="1201364" y="1390123"/>
            <a:ext cx="3634981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to edit subtitle</a:t>
            </a:r>
          </a:p>
        </p:txBody>
      </p:sp>
      <p:sp>
        <p:nvSpPr>
          <p:cNvPr id="93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94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63434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01E4EF9-3CE8-F846-91EA-E38C09E510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63EFF97C-A33A-7B43-84CD-A92115C061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6E8B1607-ADFC-D84A-ADE4-4A66BDC13308}"/>
              </a:ext>
            </a:extLst>
          </p:cNvPr>
          <p:cNvSpPr txBox="1">
            <a:spLocks noGrp="1"/>
          </p:cNvSpPr>
          <p:nvPr>
            <p:ph type="body" sz="quarter" idx="15" hasCustomPrompt="1"/>
          </p:nvPr>
        </p:nvSpPr>
        <p:spPr>
          <a:xfrm>
            <a:off x="6418766" y="2339330"/>
            <a:ext cx="463434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Rectangle">
            <a:extLst>
              <a:ext uri="{FF2B5EF4-FFF2-40B4-BE49-F238E27FC236}">
                <a16:creationId xmlns:a16="http://schemas.microsoft.com/office/drawing/2014/main" id="{7E327417-2C15-384E-AF86-3530744DAFB0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2035565288"/>
      </p:ext>
    </p:extLst>
  </p:cSld>
  <p:clrMapOvr>
    <a:masterClrMapping/>
  </p:clrMapOvr>
  <p:transition spd="med"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4 Quarter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7" name="Double-Click to edit subtitle"/>
          <p:cNvSpPr txBox="1">
            <a:spLocks noGrp="1"/>
          </p:cNvSpPr>
          <p:nvPr>
            <p:ph type="body" sz="quarter" idx="13"/>
          </p:nvPr>
        </p:nvSpPr>
        <p:spPr>
          <a:xfrm>
            <a:off x="1201364" y="1390123"/>
            <a:ext cx="3634981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to edit subtitle</a:t>
            </a:r>
          </a:p>
        </p:txBody>
      </p:sp>
      <p:sp>
        <p:nvSpPr>
          <p:cNvPr id="10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09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634343" cy="15343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AAEA2C9-A52C-954B-A6A9-63C19702944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408BD05-A3AA-204F-9845-F5868634E5F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451A7EAF-1F0D-6B47-A8F5-525626B8E0A5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244600" y="4389457"/>
            <a:ext cx="4634343" cy="15343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245AE038-64FC-CF4A-8395-DF54900BBCFA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6429917" y="4389457"/>
            <a:ext cx="4634343" cy="15343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" name="Body Level One…">
            <a:extLst>
              <a:ext uri="{FF2B5EF4-FFF2-40B4-BE49-F238E27FC236}">
                <a16:creationId xmlns:a16="http://schemas.microsoft.com/office/drawing/2014/main" id="{0287167F-E90D-4A43-9BEA-744457238A55}"/>
              </a:ext>
            </a:extLst>
          </p:cNvPr>
          <p:cNvSpPr txBox="1">
            <a:spLocks noGrp="1"/>
          </p:cNvSpPr>
          <p:nvPr>
            <p:ph type="body" sz="quarter" idx="17"/>
          </p:nvPr>
        </p:nvSpPr>
        <p:spPr>
          <a:xfrm>
            <a:off x="6429917" y="2339330"/>
            <a:ext cx="4634343" cy="153435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9" name="Rectangle">
            <a:extLst>
              <a:ext uri="{FF2B5EF4-FFF2-40B4-BE49-F238E27FC236}">
                <a16:creationId xmlns:a16="http://schemas.microsoft.com/office/drawing/2014/main" id="{BBA3CECF-FCFF-DC40-9A2E-4B06293ADF84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123313941"/>
      </p:ext>
    </p:extLst>
  </p:cSld>
  <p:clrMapOvr>
    <a:masterClrMapping/>
  </p:clrMapOvr>
  <p:transition spd="med"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 4 Column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4" name="Double-Click to edit subtitle"/>
          <p:cNvSpPr txBox="1">
            <a:spLocks noGrp="1"/>
          </p:cNvSpPr>
          <p:nvPr>
            <p:ph type="body" sz="quarter" idx="13"/>
          </p:nvPr>
        </p:nvSpPr>
        <p:spPr>
          <a:xfrm>
            <a:off x="1201364" y="1390123"/>
            <a:ext cx="3634981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to edit subtitle</a:t>
            </a:r>
          </a:p>
        </p:txBody>
      </p:sp>
      <p:sp>
        <p:nvSpPr>
          <p:cNvPr id="125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26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2189643" cy="349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C3390E4-ADFC-174C-BC66-073C9B2C83A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92FBCF0-CE50-0642-B93D-35AFE3548A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CC51DA99-8B73-5C4D-BF88-58C4A9F3DF5C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3709019" y="2339330"/>
            <a:ext cx="2189643" cy="349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99525148-A95D-544B-8F6E-F190A36616F0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6139985" y="2339330"/>
            <a:ext cx="2189643" cy="349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" name="Body Level One…">
            <a:extLst>
              <a:ext uri="{FF2B5EF4-FFF2-40B4-BE49-F238E27FC236}">
                <a16:creationId xmlns:a16="http://schemas.microsoft.com/office/drawing/2014/main" id="{D1E4E9BC-E5B5-3241-A3CA-1245E3A62AB5}"/>
              </a:ext>
            </a:extLst>
          </p:cNvPr>
          <p:cNvSpPr txBox="1">
            <a:spLocks noGrp="1"/>
          </p:cNvSpPr>
          <p:nvPr>
            <p:ph type="body" sz="quarter" idx="17"/>
          </p:nvPr>
        </p:nvSpPr>
        <p:spPr>
          <a:xfrm>
            <a:off x="8570951" y="2339329"/>
            <a:ext cx="2189643" cy="3491366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818EBCAB-0322-9E43-9D67-6444588F463D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808243453"/>
      </p:ext>
    </p:extLst>
  </p:cSld>
  <p:clrMapOvr>
    <a:masterClrMapping/>
  </p:clrMapOvr>
  <p:transition spd="med"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Grey Blank">
    <p:bg>
      <p:bgPr>
        <a:solidFill>
          <a:srgbClr val="333E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pyright © 2019 Sinch. All rights reserved. NDA Confidential.">
            <a:extLst>
              <a:ext uri="{FF2B5EF4-FFF2-40B4-BE49-F238E27FC236}">
                <a16:creationId xmlns:a16="http://schemas.microsoft.com/office/drawing/2014/main" id="{17165A2F-283B-DD4B-8573-6DCD08C392D2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</a:t>
            </a:r>
            <a:r>
              <a:rPr lang="en-US" sz="400">
                <a:solidFill>
                  <a:schemeClr val="bg1"/>
                </a:solidFill>
              </a:rPr>
              <a:t>21</a:t>
            </a:r>
            <a:r>
              <a:rPr sz="400">
                <a:solidFill>
                  <a:schemeClr val="bg1"/>
                </a:solidFill>
              </a:rPr>
              <a:t> Sinch. All rights reserved. NDA Confidentia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5EDB43C-2171-554E-84C7-730FB5600D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540402"/>
      </p:ext>
    </p:extLst>
  </p:cSld>
  <p:clrMapOvr>
    <a:masterClrMapping/>
  </p:clrMapOvr>
  <p:transition spd="med"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Agenda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1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223" name="Item 1"/>
          <p:cNvSpPr txBox="1">
            <a:spLocks noGrp="1"/>
          </p:cNvSpPr>
          <p:nvPr>
            <p:ph type="body" sz="quarter" idx="13"/>
          </p:nvPr>
        </p:nvSpPr>
        <p:spPr>
          <a:xfrm>
            <a:off x="1201364" y="1955810"/>
            <a:ext cx="2647542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1</a:t>
            </a:r>
          </a:p>
        </p:txBody>
      </p:sp>
      <p:sp>
        <p:nvSpPr>
          <p:cNvPr id="224" name="Item 2"/>
          <p:cNvSpPr txBox="1">
            <a:spLocks noGrp="1"/>
          </p:cNvSpPr>
          <p:nvPr>
            <p:ph type="body" sz="quarter" idx="14"/>
          </p:nvPr>
        </p:nvSpPr>
        <p:spPr>
          <a:xfrm>
            <a:off x="1201364" y="2488982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2</a:t>
            </a:r>
          </a:p>
        </p:txBody>
      </p:sp>
      <p:sp>
        <p:nvSpPr>
          <p:cNvPr id="225" name="Item 3"/>
          <p:cNvSpPr txBox="1">
            <a:spLocks noGrp="1"/>
          </p:cNvSpPr>
          <p:nvPr>
            <p:ph type="body" sz="quarter" idx="15"/>
          </p:nvPr>
        </p:nvSpPr>
        <p:spPr>
          <a:xfrm>
            <a:off x="1201364" y="3029525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3</a:t>
            </a:r>
          </a:p>
        </p:txBody>
      </p:sp>
      <p:sp>
        <p:nvSpPr>
          <p:cNvPr id="226" name="Item 4"/>
          <p:cNvSpPr txBox="1">
            <a:spLocks noGrp="1"/>
          </p:cNvSpPr>
          <p:nvPr>
            <p:ph type="body" sz="quarter" idx="16"/>
          </p:nvPr>
        </p:nvSpPr>
        <p:spPr>
          <a:xfrm>
            <a:off x="1201364" y="3557368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4</a:t>
            </a:r>
          </a:p>
        </p:txBody>
      </p:sp>
      <p:sp>
        <p:nvSpPr>
          <p:cNvPr id="227" name="Item 5"/>
          <p:cNvSpPr txBox="1">
            <a:spLocks noGrp="1"/>
          </p:cNvSpPr>
          <p:nvPr>
            <p:ph type="body" sz="quarter" idx="17"/>
          </p:nvPr>
        </p:nvSpPr>
        <p:spPr>
          <a:xfrm>
            <a:off x="1201364" y="4085624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5</a:t>
            </a:r>
          </a:p>
        </p:txBody>
      </p:sp>
      <p:sp>
        <p:nvSpPr>
          <p:cNvPr id="228" name="Item 8"/>
          <p:cNvSpPr txBox="1">
            <a:spLocks noGrp="1"/>
          </p:cNvSpPr>
          <p:nvPr>
            <p:ph type="body" sz="quarter" idx="18"/>
          </p:nvPr>
        </p:nvSpPr>
        <p:spPr>
          <a:xfrm>
            <a:off x="1201364" y="5653298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8 </a:t>
            </a:r>
          </a:p>
        </p:txBody>
      </p:sp>
      <p:sp>
        <p:nvSpPr>
          <p:cNvPr id="229" name="Line"/>
          <p:cNvSpPr/>
          <p:nvPr/>
        </p:nvSpPr>
        <p:spPr>
          <a:xfrm>
            <a:off x="1215625" y="2361624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0" name="Line"/>
          <p:cNvSpPr/>
          <p:nvPr/>
        </p:nvSpPr>
        <p:spPr>
          <a:xfrm>
            <a:off x="1215625" y="2889825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1" name="Line"/>
          <p:cNvSpPr/>
          <p:nvPr/>
        </p:nvSpPr>
        <p:spPr>
          <a:xfrm>
            <a:off x="1215625" y="3424018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2" name="Line"/>
          <p:cNvSpPr/>
          <p:nvPr/>
        </p:nvSpPr>
        <p:spPr>
          <a:xfrm>
            <a:off x="1215625" y="3958211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3" name="Line"/>
          <p:cNvSpPr/>
          <p:nvPr/>
        </p:nvSpPr>
        <p:spPr>
          <a:xfrm>
            <a:off x="1215625" y="4486467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4" name="Line"/>
          <p:cNvSpPr/>
          <p:nvPr/>
        </p:nvSpPr>
        <p:spPr>
          <a:xfrm>
            <a:off x="1215625" y="5533104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5" name="Item 6"/>
          <p:cNvSpPr txBox="1">
            <a:spLocks noGrp="1"/>
          </p:cNvSpPr>
          <p:nvPr>
            <p:ph type="body" sz="quarter" idx="19"/>
          </p:nvPr>
        </p:nvSpPr>
        <p:spPr>
          <a:xfrm>
            <a:off x="1201364" y="4615255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6</a:t>
            </a:r>
          </a:p>
        </p:txBody>
      </p:sp>
      <p:sp>
        <p:nvSpPr>
          <p:cNvPr id="236" name="Line"/>
          <p:cNvSpPr/>
          <p:nvPr/>
        </p:nvSpPr>
        <p:spPr>
          <a:xfrm>
            <a:off x="1215625" y="5012234"/>
            <a:ext cx="1598133" cy="1"/>
          </a:xfrm>
          <a:prstGeom prst="line">
            <a:avLst/>
          </a:prstGeom>
          <a:ln w="25400">
            <a:solidFill>
              <a:srgbClr val="FFC556"/>
            </a:solidFill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37" name="Item 7"/>
          <p:cNvSpPr txBox="1">
            <a:spLocks noGrp="1"/>
          </p:cNvSpPr>
          <p:nvPr>
            <p:ph type="body" sz="quarter" idx="20"/>
          </p:nvPr>
        </p:nvSpPr>
        <p:spPr>
          <a:xfrm>
            <a:off x="1201364" y="5136170"/>
            <a:ext cx="8729473" cy="393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100"/>
              </a:lnSpc>
              <a:defRPr sz="2800"/>
            </a:pPr>
            <a:r>
              <a:t>Item 7 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69119B92-9C61-B243-9301-D2F3689CA1C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1F946769-1BC1-CB48-B846-8E6BE47B979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5" name="Rectangle">
            <a:extLst>
              <a:ext uri="{FF2B5EF4-FFF2-40B4-BE49-F238E27FC236}">
                <a16:creationId xmlns:a16="http://schemas.microsoft.com/office/drawing/2014/main" id="{548497F4-F1B6-5748-865F-073B1EF8A075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1966437186"/>
      </p:ext>
    </p:extLst>
  </p:cSld>
  <p:clrMapOvr>
    <a:masterClrMapping/>
  </p:clrMapOvr>
  <p:transition spd="med"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2 column with sta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" name="Line"/>
          <p:cNvSpPr/>
          <p:nvPr/>
        </p:nvSpPr>
        <p:spPr>
          <a:xfrm>
            <a:off x="4045848" y="3719492"/>
            <a:ext cx="1362494" cy="0"/>
          </a:xfrm>
          <a:prstGeom prst="line">
            <a:avLst/>
          </a:prstGeom>
          <a:ln w="127000">
            <a:solidFill>
              <a:srgbClr val="58CAE8"/>
            </a:solidFill>
            <a:miter lim="400000"/>
            <a:tailEnd type="diamond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62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266" name="Circle"/>
          <p:cNvSpPr/>
          <p:nvPr/>
        </p:nvSpPr>
        <p:spPr>
          <a:xfrm>
            <a:off x="1212479" y="1859966"/>
            <a:ext cx="3719052" cy="3719052"/>
          </a:xfrm>
          <a:prstGeom prst="ellipse">
            <a:avLst/>
          </a:prstGeom>
          <a:solidFill>
            <a:srgbClr val="58CAE8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267" name="Title here"/>
          <p:cNvSpPr txBox="1">
            <a:spLocks noGrp="1"/>
          </p:cNvSpPr>
          <p:nvPr>
            <p:ph type="body" sz="quarter" idx="13"/>
          </p:nvPr>
        </p:nvSpPr>
        <p:spPr>
          <a:xfrm>
            <a:off x="1194002" y="2872481"/>
            <a:ext cx="3719052" cy="66826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ts val="4650"/>
              </a:lnSpc>
              <a:defRPr sz="3500" b="1" spc="-210">
                <a:solidFill>
                  <a:srgbClr val="FFFFFF"/>
                </a:solidFill>
              </a:defRPr>
            </a:lvl1pPr>
          </a:lstStyle>
          <a:p>
            <a:r>
              <a:t>Title here</a:t>
            </a:r>
          </a:p>
        </p:txBody>
      </p:sp>
      <p:sp>
        <p:nvSpPr>
          <p:cNvPr id="268" name="Double- click to edit text here,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709591" y="3454400"/>
            <a:ext cx="2724827" cy="113300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500">
                <a:solidFill>
                  <a:srgbClr val="FFFFFF"/>
                </a:solidFill>
              </a:defRPr>
            </a:lvl1pPr>
          </a:lstStyle>
          <a:p>
            <a:r>
              <a:t>Double- click to edit text here, up to 3 lines</a:t>
            </a:r>
          </a:p>
        </p:txBody>
      </p:sp>
      <p:sp>
        <p:nvSpPr>
          <p:cNvPr id="269" name="Double-Click here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5703400" y="1671213"/>
            <a:ext cx="4191792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here to edit subtitle</a:t>
            </a:r>
          </a:p>
        </p:txBody>
      </p:sp>
      <p:sp>
        <p:nvSpPr>
          <p:cNvPr id="270" name="Click to edit title"/>
          <p:cNvSpPr txBox="1">
            <a:spLocks noGrp="1"/>
          </p:cNvSpPr>
          <p:nvPr>
            <p:ph type="body" sz="quarter" idx="16"/>
          </p:nvPr>
        </p:nvSpPr>
        <p:spPr>
          <a:xfrm>
            <a:off x="5727203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 b="1">
                <a:solidFill>
                  <a:srgbClr val="DF3D52"/>
                </a:solidFill>
              </a:defRPr>
            </a:pPr>
            <a:r>
              <a:t>Click to edit title</a:t>
            </a:r>
          </a:p>
        </p:txBody>
      </p:sp>
      <p:sp>
        <p:nvSpPr>
          <p:cNvPr id="271" name="Click to edit title 2"/>
          <p:cNvSpPr txBox="1">
            <a:spLocks noGrp="1"/>
          </p:cNvSpPr>
          <p:nvPr>
            <p:ph type="body" sz="quarter" idx="17"/>
          </p:nvPr>
        </p:nvSpPr>
        <p:spPr>
          <a:xfrm>
            <a:off x="8897717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 b="1">
                <a:solidFill>
                  <a:srgbClr val="5C078B"/>
                </a:solidFill>
              </a:defRPr>
            </a:pPr>
            <a:r>
              <a:t>Click to edit title 2</a:t>
            </a:r>
          </a:p>
        </p:txBody>
      </p:sp>
      <p:sp>
        <p:nvSpPr>
          <p:cNvPr id="272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73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727700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74" name="Body Level One…"/>
          <p:cNvSpPr txBox="1">
            <a:spLocks noGrp="1"/>
          </p:cNvSpPr>
          <p:nvPr>
            <p:ph type="body" sz="quarter" idx="18"/>
          </p:nvPr>
        </p:nvSpPr>
        <p:spPr>
          <a:xfrm>
            <a:off x="8905549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ACC2DB0-E798-DF48-AAB8-C7AC10A092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4F58C9E-3666-5D43-9D34-88C87D79A2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9" name="Rectangle">
            <a:extLst>
              <a:ext uri="{FF2B5EF4-FFF2-40B4-BE49-F238E27FC236}">
                <a16:creationId xmlns:a16="http://schemas.microsoft.com/office/drawing/2014/main" id="{87C60FF8-FD2B-3042-8155-9D5A1438059A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4268689287"/>
      </p:ext>
    </p:extLst>
  </p:cSld>
  <p:clrMapOvr>
    <a:masterClrMapping/>
  </p:clrMapOvr>
  <p:transition spd="med"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 column with stat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">
            <a:extLst>
              <a:ext uri="{FF2B5EF4-FFF2-40B4-BE49-F238E27FC236}">
                <a16:creationId xmlns:a16="http://schemas.microsoft.com/office/drawing/2014/main" id="{90FA1BC8-19D8-5C46-AEF0-EC57BF5B850F}"/>
              </a:ext>
            </a:extLst>
          </p:cNvPr>
          <p:cNvSpPr/>
          <p:nvPr userDrawn="1"/>
        </p:nvSpPr>
        <p:spPr>
          <a:xfrm>
            <a:off x="4045848" y="3719492"/>
            <a:ext cx="1340192" cy="0"/>
          </a:xfrm>
          <a:prstGeom prst="line">
            <a:avLst/>
          </a:prstGeom>
          <a:ln w="127000">
            <a:solidFill>
              <a:srgbClr val="C4E288"/>
            </a:solidFill>
            <a:miter lim="400000"/>
            <a:tailEnd type="diamond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14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53" name="Circle"/>
          <p:cNvSpPr/>
          <p:nvPr/>
        </p:nvSpPr>
        <p:spPr>
          <a:xfrm>
            <a:off x="1212479" y="1859966"/>
            <a:ext cx="3719052" cy="3719052"/>
          </a:xfrm>
          <a:prstGeom prst="ellipse">
            <a:avLst/>
          </a:prstGeom>
          <a:solidFill>
            <a:srgbClr val="C3E188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</a:endParaRPr>
          </a:p>
        </p:txBody>
      </p:sp>
      <p:sp>
        <p:nvSpPr>
          <p:cNvPr id="154" name="Title here"/>
          <p:cNvSpPr txBox="1">
            <a:spLocks noGrp="1"/>
          </p:cNvSpPr>
          <p:nvPr>
            <p:ph type="body" sz="quarter" idx="13"/>
          </p:nvPr>
        </p:nvSpPr>
        <p:spPr>
          <a:xfrm>
            <a:off x="1194002" y="2872481"/>
            <a:ext cx="3719052" cy="66826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ts val="4650"/>
              </a:lnSpc>
              <a:defRPr sz="3500" b="1" spc="-210">
                <a:solidFill>
                  <a:schemeClr val="bg1"/>
                </a:solidFill>
              </a:defRPr>
            </a:lvl1pPr>
          </a:lstStyle>
          <a:p>
            <a:r>
              <a:t>Title here</a:t>
            </a:r>
          </a:p>
        </p:txBody>
      </p:sp>
      <p:sp>
        <p:nvSpPr>
          <p:cNvPr id="155" name="Double- click to edit text here,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709591" y="3454400"/>
            <a:ext cx="2724827" cy="113300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</a:defRPr>
            </a:lvl1pPr>
          </a:lstStyle>
          <a:p>
            <a:r>
              <a:t>Double- click to edit text here, up to 3 lines</a:t>
            </a:r>
          </a:p>
        </p:txBody>
      </p:sp>
      <p:sp>
        <p:nvSpPr>
          <p:cNvPr id="156" name="Double-Click here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5703400" y="1671213"/>
            <a:ext cx="4191792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here to edit subtitle</a:t>
            </a:r>
          </a:p>
        </p:txBody>
      </p:sp>
      <p:sp>
        <p:nvSpPr>
          <p:cNvPr id="157" name="Click to edit title"/>
          <p:cNvSpPr txBox="1">
            <a:spLocks noGrp="1"/>
          </p:cNvSpPr>
          <p:nvPr>
            <p:ph type="body" sz="quarter" idx="16"/>
          </p:nvPr>
        </p:nvSpPr>
        <p:spPr>
          <a:xfrm>
            <a:off x="5727203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>
            <a:lvl2pPr>
              <a:defRPr>
                <a:solidFill>
                  <a:srgbClr val="58CAE8"/>
                </a:solidFill>
              </a:defRPr>
            </a:lvl2pPr>
          </a:lstStyle>
          <a:p>
            <a:pPr lvl="1">
              <a:defRPr b="1">
                <a:solidFill>
                  <a:srgbClr val="DF3D52"/>
                </a:solidFill>
              </a:defRPr>
            </a:pPr>
            <a:r>
              <a:t>Click to edit title</a:t>
            </a:r>
          </a:p>
        </p:txBody>
      </p:sp>
      <p:sp>
        <p:nvSpPr>
          <p:cNvPr id="158" name="Click to edit title 2"/>
          <p:cNvSpPr txBox="1">
            <a:spLocks noGrp="1"/>
          </p:cNvSpPr>
          <p:nvPr>
            <p:ph type="body" sz="quarter" idx="17"/>
          </p:nvPr>
        </p:nvSpPr>
        <p:spPr>
          <a:xfrm>
            <a:off x="8897717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 b="1">
                <a:solidFill>
                  <a:srgbClr val="5C078B"/>
                </a:solidFill>
              </a:defRPr>
            </a:pPr>
            <a:r>
              <a:t>Click to edit title 2</a:t>
            </a:r>
          </a:p>
        </p:txBody>
      </p:sp>
      <p:sp>
        <p:nvSpPr>
          <p:cNvPr id="15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6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727700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1" name="Body Level One…"/>
          <p:cNvSpPr txBox="1">
            <a:spLocks noGrp="1"/>
          </p:cNvSpPr>
          <p:nvPr>
            <p:ph type="body" sz="quarter" idx="18"/>
          </p:nvPr>
        </p:nvSpPr>
        <p:spPr>
          <a:xfrm>
            <a:off x="8905549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98736A-F242-7943-94F6-D9DADDB4AE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EC2CF31-20B2-8F48-9B26-099712C0AE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9" name="Rectangle">
            <a:extLst>
              <a:ext uri="{FF2B5EF4-FFF2-40B4-BE49-F238E27FC236}">
                <a16:creationId xmlns:a16="http://schemas.microsoft.com/office/drawing/2014/main" id="{8031C7A6-4FBE-FB43-81D9-086A6A2D4619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1141816144"/>
      </p:ext>
    </p:extLst>
  </p:cSld>
  <p:clrMapOvr>
    <a:masterClrMapping/>
  </p:clrMapOvr>
  <p:transition spd="med"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2 column with stat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Line">
            <a:extLst>
              <a:ext uri="{FF2B5EF4-FFF2-40B4-BE49-F238E27FC236}">
                <a16:creationId xmlns:a16="http://schemas.microsoft.com/office/drawing/2014/main" id="{49C8046E-47F2-DD46-8DE0-5DAAA6211A69}"/>
              </a:ext>
            </a:extLst>
          </p:cNvPr>
          <p:cNvSpPr/>
          <p:nvPr userDrawn="1"/>
        </p:nvSpPr>
        <p:spPr>
          <a:xfrm>
            <a:off x="4045848" y="3719492"/>
            <a:ext cx="1340192" cy="0"/>
          </a:xfrm>
          <a:prstGeom prst="line">
            <a:avLst/>
          </a:prstGeom>
          <a:ln w="127000">
            <a:solidFill>
              <a:srgbClr val="FFC556"/>
            </a:solidFill>
            <a:miter lim="400000"/>
            <a:tailEnd type="diamond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14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53" name="Circle"/>
          <p:cNvSpPr/>
          <p:nvPr/>
        </p:nvSpPr>
        <p:spPr>
          <a:xfrm>
            <a:off x="1212479" y="1859966"/>
            <a:ext cx="3719052" cy="3719052"/>
          </a:xfrm>
          <a:prstGeom prst="ellipse">
            <a:avLst/>
          </a:prstGeom>
          <a:solidFill>
            <a:srgbClr val="FFC556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>
              <a:solidFill>
                <a:schemeClr val="bg1"/>
              </a:solidFill>
            </a:endParaRPr>
          </a:p>
        </p:txBody>
      </p:sp>
      <p:sp>
        <p:nvSpPr>
          <p:cNvPr id="154" name="Title here"/>
          <p:cNvSpPr txBox="1">
            <a:spLocks noGrp="1"/>
          </p:cNvSpPr>
          <p:nvPr>
            <p:ph type="body" sz="quarter" idx="13"/>
          </p:nvPr>
        </p:nvSpPr>
        <p:spPr>
          <a:xfrm>
            <a:off x="1194002" y="2872481"/>
            <a:ext cx="3719052" cy="668260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lnSpc>
                <a:spcPts val="4650"/>
              </a:lnSpc>
              <a:defRPr sz="3500" b="1" spc="-210">
                <a:solidFill>
                  <a:schemeClr val="bg1"/>
                </a:solidFill>
              </a:defRPr>
            </a:lvl1pPr>
          </a:lstStyle>
          <a:p>
            <a:r>
              <a:t>Title here</a:t>
            </a:r>
          </a:p>
        </p:txBody>
      </p:sp>
      <p:sp>
        <p:nvSpPr>
          <p:cNvPr id="155" name="Double- click to edit text here,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709591" y="3454400"/>
            <a:ext cx="2724827" cy="113300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0000"/>
              </a:lnSpc>
              <a:defRPr sz="2500">
                <a:solidFill>
                  <a:schemeClr val="bg1"/>
                </a:solidFill>
              </a:defRPr>
            </a:lvl1pPr>
          </a:lstStyle>
          <a:p>
            <a:r>
              <a:t>Double- click to edit text here, up to 3 lines</a:t>
            </a:r>
          </a:p>
        </p:txBody>
      </p:sp>
      <p:sp>
        <p:nvSpPr>
          <p:cNvPr id="156" name="Double-Click here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5703400" y="1671213"/>
            <a:ext cx="4191792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here to edit subtitle</a:t>
            </a:r>
          </a:p>
        </p:txBody>
      </p:sp>
      <p:sp>
        <p:nvSpPr>
          <p:cNvPr id="157" name="Click to edit title"/>
          <p:cNvSpPr txBox="1">
            <a:spLocks noGrp="1"/>
          </p:cNvSpPr>
          <p:nvPr>
            <p:ph type="body" sz="quarter" idx="16"/>
          </p:nvPr>
        </p:nvSpPr>
        <p:spPr>
          <a:xfrm>
            <a:off x="5727203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>
            <a:lvl2pPr>
              <a:defRPr>
                <a:solidFill>
                  <a:srgbClr val="58CAE8"/>
                </a:solidFill>
              </a:defRPr>
            </a:lvl2pPr>
          </a:lstStyle>
          <a:p>
            <a:pPr lvl="1">
              <a:defRPr b="1">
                <a:solidFill>
                  <a:srgbClr val="DF3D52"/>
                </a:solidFill>
              </a:defRPr>
            </a:pPr>
            <a:r>
              <a:t>Click to edit title</a:t>
            </a:r>
          </a:p>
        </p:txBody>
      </p:sp>
      <p:sp>
        <p:nvSpPr>
          <p:cNvPr id="158" name="Click to edit title 2"/>
          <p:cNvSpPr txBox="1">
            <a:spLocks noGrp="1"/>
          </p:cNvSpPr>
          <p:nvPr>
            <p:ph type="body" sz="quarter" idx="17"/>
          </p:nvPr>
        </p:nvSpPr>
        <p:spPr>
          <a:xfrm>
            <a:off x="8897717" y="2088985"/>
            <a:ext cx="2724827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defRPr b="1">
                <a:solidFill>
                  <a:srgbClr val="5C078B"/>
                </a:solidFill>
              </a:defRPr>
            </a:pPr>
            <a:r>
              <a:t>Click to edit title 2</a:t>
            </a:r>
          </a:p>
        </p:txBody>
      </p:sp>
      <p:sp>
        <p:nvSpPr>
          <p:cNvPr id="15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60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727700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1" name="Body Level One…"/>
          <p:cNvSpPr txBox="1">
            <a:spLocks noGrp="1"/>
          </p:cNvSpPr>
          <p:nvPr>
            <p:ph type="body" sz="quarter" idx="18"/>
          </p:nvPr>
        </p:nvSpPr>
        <p:spPr>
          <a:xfrm>
            <a:off x="8905549" y="2516782"/>
            <a:ext cx="2724827" cy="173553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2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98736A-F242-7943-94F6-D9DADDB4AE0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3EC2CF31-20B2-8F48-9B26-099712C0AE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9" name="Rectangle">
            <a:extLst>
              <a:ext uri="{FF2B5EF4-FFF2-40B4-BE49-F238E27FC236}">
                <a16:creationId xmlns:a16="http://schemas.microsoft.com/office/drawing/2014/main" id="{B2245F20-39EA-8B40-B700-4F692F21C595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773621227"/>
      </p:ext>
    </p:extLst>
  </p:cSld>
  <p:clrMapOvr>
    <a:masterClrMapping/>
  </p:clrMapOvr>
  <p:transition spd="med"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benefits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1C4D8EE-281E-BF4F-8D64-DE239F908C5C}"/>
              </a:ext>
            </a:extLst>
          </p:cNvPr>
          <p:cNvSpPr/>
          <p:nvPr userDrawn="1"/>
        </p:nvSpPr>
        <p:spPr>
          <a:xfrm>
            <a:off x="1796362" y="4814997"/>
            <a:ext cx="2808000" cy="246221"/>
          </a:xfrm>
          <a:prstGeom prst="rect">
            <a:avLst/>
          </a:prstGeom>
          <a:solidFill>
            <a:srgbClr val="FFDC9A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FDF4E3D-8785-3845-B7C8-1F7EAE10D947}"/>
              </a:ext>
            </a:extLst>
          </p:cNvPr>
          <p:cNvSpPr/>
          <p:nvPr userDrawn="1"/>
        </p:nvSpPr>
        <p:spPr>
          <a:xfrm>
            <a:off x="4691962" y="4814997"/>
            <a:ext cx="2808000" cy="246221"/>
          </a:xfrm>
          <a:prstGeom prst="rect">
            <a:avLst/>
          </a:prstGeom>
          <a:solidFill>
            <a:srgbClr val="EC8B97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8E742-D3E4-3D46-B7F3-2AEF419F106A}"/>
              </a:ext>
            </a:extLst>
          </p:cNvPr>
          <p:cNvSpPr/>
          <p:nvPr userDrawn="1"/>
        </p:nvSpPr>
        <p:spPr>
          <a:xfrm>
            <a:off x="7587562" y="4814996"/>
            <a:ext cx="2807918" cy="246221"/>
          </a:xfrm>
          <a:prstGeom prst="rect">
            <a:avLst/>
          </a:prstGeom>
          <a:solidFill>
            <a:srgbClr val="9D69B9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0D8E2F-6A62-DC4A-A0C6-6628F85AE95A}"/>
              </a:ext>
            </a:extLst>
          </p:cNvPr>
          <p:cNvSpPr/>
          <p:nvPr userDrawn="1"/>
        </p:nvSpPr>
        <p:spPr>
          <a:xfrm>
            <a:off x="7587562" y="3144410"/>
            <a:ext cx="2808076" cy="246221"/>
          </a:xfrm>
          <a:prstGeom prst="rect">
            <a:avLst/>
          </a:prstGeom>
          <a:solidFill>
            <a:srgbClr val="5C068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AD4916-2162-2144-9944-426417F570A9}"/>
              </a:ext>
            </a:extLst>
          </p:cNvPr>
          <p:cNvSpPr/>
          <p:nvPr userDrawn="1"/>
        </p:nvSpPr>
        <p:spPr>
          <a:xfrm>
            <a:off x="1796517" y="3150937"/>
            <a:ext cx="2808076" cy="246221"/>
          </a:xfrm>
          <a:prstGeom prst="rect">
            <a:avLst/>
          </a:prstGeom>
          <a:solidFill>
            <a:srgbClr val="FFC55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343500-E492-B64F-92BB-C00DD57CF24C}"/>
              </a:ext>
            </a:extLst>
          </p:cNvPr>
          <p:cNvSpPr/>
          <p:nvPr userDrawn="1"/>
        </p:nvSpPr>
        <p:spPr>
          <a:xfrm>
            <a:off x="4691962" y="3150937"/>
            <a:ext cx="2808076" cy="246221"/>
          </a:xfrm>
          <a:prstGeom prst="rect">
            <a:avLst/>
          </a:prstGeom>
          <a:solidFill>
            <a:srgbClr val="E03B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6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76" name="Double-click to add content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2035514" y="4197871"/>
            <a:ext cx="2337349" cy="17734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/>
            </a:lvl1pPr>
            <a:lvl2pPr marL="180000" indent="0">
              <a:buFont typeface="Arial" panose="020B0604020202020204" pitchFamily="34" charset="0"/>
              <a:buNone/>
              <a:defRPr sz="1400"/>
            </a:lvl2pPr>
            <a:lvl3pPr marL="360000" indent="0">
              <a:buFont typeface="Arial" panose="020B0604020202020204" pitchFamily="34" charset="0"/>
              <a:buNone/>
              <a:defRPr sz="1400"/>
            </a:lvl3pPr>
            <a:lvl4pPr marL="540000" indent="0">
              <a:buFont typeface="Arial" panose="020B0604020202020204" pitchFamily="34" charset="0"/>
              <a:buNone/>
              <a:defRPr sz="1400"/>
            </a:lvl4pPr>
            <a:lvl5pPr marL="720000" indent="0">
              <a:buFont typeface="Arial" panose="020B0604020202020204" pitchFamily="34" charset="0"/>
              <a:buNone/>
              <a:defRPr sz="1400"/>
            </a:lvl5pPr>
            <a:lvl6pPr marL="285750" indent="-285750">
              <a:buFont typeface="Arial" panose="020B0604020202020204" pitchFamily="34" charset="0"/>
              <a:buChar char="•"/>
              <a:defRPr/>
            </a:lvl6pPr>
            <a:lvl7pPr marL="0" indent="0">
              <a:buFont typeface="Arial" panose="020B0604020202020204" pitchFamily="34" charset="0"/>
              <a:buNone/>
              <a:defRPr/>
            </a:lvl7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0" name="Title here"/>
          <p:cNvSpPr txBox="1">
            <a:spLocks noGrp="1"/>
          </p:cNvSpPr>
          <p:nvPr>
            <p:ph type="body" sz="quarter" idx="20"/>
          </p:nvPr>
        </p:nvSpPr>
        <p:spPr>
          <a:xfrm>
            <a:off x="1796520" y="3028532"/>
            <a:ext cx="2804288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FFFFFF"/>
                </a:solidFill>
              </a:defRPr>
            </a:lvl1pPr>
          </a:lstStyle>
          <a:p>
            <a:r>
              <a:t>Title here </a:t>
            </a:r>
          </a:p>
        </p:txBody>
      </p:sp>
      <p:sp>
        <p:nvSpPr>
          <p:cNvPr id="181" name="Title here"/>
          <p:cNvSpPr txBox="1">
            <a:spLocks noGrp="1"/>
          </p:cNvSpPr>
          <p:nvPr>
            <p:ph type="body" sz="quarter" idx="21"/>
          </p:nvPr>
        </p:nvSpPr>
        <p:spPr>
          <a:xfrm>
            <a:off x="4695592" y="3028532"/>
            <a:ext cx="2804288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FFFFFF"/>
                </a:solidFill>
              </a:defRPr>
            </a:lvl1pPr>
          </a:lstStyle>
          <a:p>
            <a:r>
              <a:t>Title here </a:t>
            </a:r>
          </a:p>
        </p:txBody>
      </p:sp>
      <p:sp>
        <p:nvSpPr>
          <p:cNvPr id="182" name="Title here"/>
          <p:cNvSpPr txBox="1">
            <a:spLocks noGrp="1"/>
          </p:cNvSpPr>
          <p:nvPr>
            <p:ph type="body" sz="quarter" idx="22"/>
          </p:nvPr>
        </p:nvSpPr>
        <p:spPr>
          <a:xfrm>
            <a:off x="7591867" y="3028532"/>
            <a:ext cx="2803613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chemeClr val="bg1"/>
                </a:solidFill>
              </a:defRPr>
            </a:lvl1pPr>
          </a:lstStyle>
          <a:p>
            <a:r>
              <a:t>Title here</a:t>
            </a:r>
          </a:p>
        </p:txBody>
      </p:sp>
      <p:sp>
        <p:nvSpPr>
          <p:cNvPr id="183" name="Double-click to add content"/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927326" y="4197871"/>
            <a:ext cx="2421243" cy="1773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/>
            </a:lvl1pPr>
            <a:lvl2pPr marL="180000" indent="0">
              <a:buFont typeface="Arial" panose="020B0604020202020204" pitchFamily="34" charset="0"/>
              <a:buNone/>
              <a:defRPr sz="1400"/>
            </a:lvl2pPr>
            <a:lvl3pPr marL="360000" indent="0">
              <a:buFont typeface="Arial" panose="020B0604020202020204" pitchFamily="34" charset="0"/>
              <a:buNone/>
              <a:defRPr sz="1400"/>
            </a:lvl3pPr>
            <a:lvl4pPr marL="540000" indent="0">
              <a:buFont typeface="Arial" panose="020B0604020202020204" pitchFamily="34" charset="0"/>
              <a:buNone/>
              <a:defRPr sz="1400"/>
            </a:lvl4pPr>
            <a:lvl5pPr marL="720000" indent="0">
              <a:buFont typeface="Arial" panose="020B0604020202020204" pitchFamily="34" charset="0"/>
              <a:buNone/>
              <a:defRPr sz="1400"/>
            </a:lvl5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4" name="Double-click to add content"/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7819138" y="4197871"/>
            <a:ext cx="2337349" cy="17734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18000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36000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54000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720000" indent="0"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5" name="Double-click to edit subtitle"/>
          <p:cNvSpPr txBox="1">
            <a:spLocks noGrp="1"/>
          </p:cNvSpPr>
          <p:nvPr>
            <p:ph type="body" sz="quarter" idx="25"/>
          </p:nvPr>
        </p:nvSpPr>
        <p:spPr>
          <a:xfrm>
            <a:off x="1214722" y="1435708"/>
            <a:ext cx="3680421" cy="714683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250"/>
              </a:lnSpc>
              <a:defRPr sz="3000"/>
            </a:pPr>
            <a:r>
              <a:t>Double-click to edit subtitle </a:t>
            </a:r>
          </a:p>
        </p:txBody>
      </p:sp>
      <p:sp>
        <p:nvSpPr>
          <p:cNvPr id="186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581F5CA-F75E-BB43-835A-5FAB4CEF1D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A9DD8D0-78AA-C544-AD61-F536CD9253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ectangle">
            <a:extLst>
              <a:ext uri="{FF2B5EF4-FFF2-40B4-BE49-F238E27FC236}">
                <a16:creationId xmlns:a16="http://schemas.microsoft.com/office/drawing/2014/main" id="{6C3AA471-4273-EF4C-A438-CE7C1AE5663E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4030883237"/>
      </p:ext>
    </p:extLst>
  </p:cSld>
  <p:clrMapOvr>
    <a:masterClrMapping/>
  </p:clrMapOvr>
  <p:transition spd="med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3243774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benefits v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:a16="http://schemas.microsoft.com/office/drawing/2014/main" id="{71C4D8EE-281E-BF4F-8D64-DE239F908C5C}"/>
              </a:ext>
            </a:extLst>
          </p:cNvPr>
          <p:cNvSpPr/>
          <p:nvPr userDrawn="1"/>
        </p:nvSpPr>
        <p:spPr>
          <a:xfrm>
            <a:off x="1796362" y="4526764"/>
            <a:ext cx="2808000" cy="246221"/>
          </a:xfrm>
          <a:prstGeom prst="rect">
            <a:avLst/>
          </a:prstGeom>
          <a:solidFill>
            <a:srgbClr val="E7F3D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AFDF4E3D-8785-3845-B7C8-1F7EAE10D947}"/>
              </a:ext>
            </a:extLst>
          </p:cNvPr>
          <p:cNvSpPr/>
          <p:nvPr userDrawn="1"/>
        </p:nvSpPr>
        <p:spPr>
          <a:xfrm>
            <a:off x="4691962" y="4526764"/>
            <a:ext cx="2808000" cy="246221"/>
          </a:xfrm>
          <a:prstGeom prst="rect">
            <a:avLst/>
          </a:prstGeom>
          <a:solidFill>
            <a:srgbClr val="BDEAF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028E742-D3E4-3D46-B7F3-2AEF419F106A}"/>
              </a:ext>
            </a:extLst>
          </p:cNvPr>
          <p:cNvSpPr/>
          <p:nvPr userDrawn="1"/>
        </p:nvSpPr>
        <p:spPr>
          <a:xfrm>
            <a:off x="7587562" y="4526764"/>
            <a:ext cx="2808000" cy="246221"/>
          </a:xfrm>
          <a:prstGeom prst="rect">
            <a:avLst/>
          </a:prstGeom>
          <a:solidFill>
            <a:srgbClr val="FCE7E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C70D8E2F-6A62-DC4A-A0C6-6628F85AE95A}"/>
              </a:ext>
            </a:extLst>
          </p:cNvPr>
          <p:cNvSpPr/>
          <p:nvPr userDrawn="1"/>
        </p:nvSpPr>
        <p:spPr>
          <a:xfrm>
            <a:off x="7587562" y="2856177"/>
            <a:ext cx="2808076" cy="246221"/>
          </a:xfrm>
          <a:prstGeom prst="rect">
            <a:avLst/>
          </a:prstGeom>
          <a:solidFill>
            <a:srgbClr val="F5C2C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38AD4916-2162-2144-9944-426417F570A9}"/>
              </a:ext>
            </a:extLst>
          </p:cNvPr>
          <p:cNvSpPr/>
          <p:nvPr userDrawn="1"/>
        </p:nvSpPr>
        <p:spPr>
          <a:xfrm>
            <a:off x="1796517" y="2862704"/>
            <a:ext cx="2808076" cy="246221"/>
          </a:xfrm>
          <a:prstGeom prst="rect">
            <a:avLst/>
          </a:prstGeom>
          <a:solidFill>
            <a:srgbClr val="C3E18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F343500-E492-B64F-92BB-C00DD57CF24C}"/>
              </a:ext>
            </a:extLst>
          </p:cNvPr>
          <p:cNvSpPr/>
          <p:nvPr userDrawn="1"/>
        </p:nvSpPr>
        <p:spPr>
          <a:xfrm>
            <a:off x="4691962" y="2862704"/>
            <a:ext cx="2808076" cy="246221"/>
          </a:xfrm>
          <a:prstGeom prst="rect">
            <a:avLst/>
          </a:prstGeom>
          <a:solidFill>
            <a:srgbClr val="58CA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6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76" name="Double-click to add content"/>
          <p:cNvSpPr txBox="1">
            <a:spLocks noGrp="1"/>
          </p:cNvSpPr>
          <p:nvPr>
            <p:ph type="body" sz="quarter" idx="16" hasCustomPrompt="1"/>
          </p:nvPr>
        </p:nvSpPr>
        <p:spPr>
          <a:xfrm>
            <a:off x="2035514" y="3909639"/>
            <a:ext cx="2337349" cy="17734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/>
            </a:lvl1pPr>
            <a:lvl2pPr marL="180000" indent="0">
              <a:buFont typeface="Arial" panose="020B0604020202020204" pitchFamily="34" charset="0"/>
              <a:buNone/>
              <a:defRPr sz="1400"/>
            </a:lvl2pPr>
            <a:lvl3pPr marL="360000" indent="0">
              <a:buFont typeface="Arial" panose="020B0604020202020204" pitchFamily="34" charset="0"/>
              <a:buNone/>
              <a:defRPr sz="1400"/>
            </a:lvl3pPr>
            <a:lvl4pPr marL="540000" indent="0">
              <a:buFont typeface="Arial" panose="020B0604020202020204" pitchFamily="34" charset="0"/>
              <a:buNone/>
              <a:defRPr sz="1400"/>
            </a:lvl4pPr>
            <a:lvl5pPr marL="720000" indent="0">
              <a:buFont typeface="Arial" panose="020B0604020202020204" pitchFamily="34" charset="0"/>
              <a:buNone/>
              <a:defRPr sz="1400"/>
            </a:lvl5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0" name="Title here"/>
          <p:cNvSpPr txBox="1">
            <a:spLocks noGrp="1"/>
          </p:cNvSpPr>
          <p:nvPr>
            <p:ph type="body" sz="quarter" idx="20"/>
          </p:nvPr>
        </p:nvSpPr>
        <p:spPr>
          <a:xfrm>
            <a:off x="1796520" y="2740300"/>
            <a:ext cx="2804288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FFFFFF"/>
                </a:solidFill>
              </a:defRPr>
            </a:lvl1pPr>
          </a:lstStyle>
          <a:p>
            <a:r>
              <a:t>Title here </a:t>
            </a:r>
          </a:p>
        </p:txBody>
      </p:sp>
      <p:sp>
        <p:nvSpPr>
          <p:cNvPr id="181" name="Title here"/>
          <p:cNvSpPr txBox="1">
            <a:spLocks noGrp="1"/>
          </p:cNvSpPr>
          <p:nvPr>
            <p:ph type="body" sz="quarter" idx="21"/>
          </p:nvPr>
        </p:nvSpPr>
        <p:spPr>
          <a:xfrm>
            <a:off x="4695592" y="2740300"/>
            <a:ext cx="2804288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FFFFFF"/>
                </a:solidFill>
              </a:defRPr>
            </a:lvl1pPr>
          </a:lstStyle>
          <a:p>
            <a:r>
              <a:t>Title here </a:t>
            </a:r>
          </a:p>
        </p:txBody>
      </p:sp>
      <p:sp>
        <p:nvSpPr>
          <p:cNvPr id="182" name="Title here"/>
          <p:cNvSpPr txBox="1">
            <a:spLocks noGrp="1"/>
          </p:cNvSpPr>
          <p:nvPr>
            <p:ph type="body" sz="quarter" idx="22"/>
          </p:nvPr>
        </p:nvSpPr>
        <p:spPr>
          <a:xfrm>
            <a:off x="7591867" y="2740300"/>
            <a:ext cx="2803613" cy="449482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lnSpc>
                <a:spcPct val="110000"/>
              </a:lnSpc>
              <a:defRPr sz="2200" b="1">
                <a:solidFill>
                  <a:srgbClr val="FFFFFF"/>
                </a:solidFill>
              </a:defRPr>
            </a:lvl1pPr>
          </a:lstStyle>
          <a:p>
            <a:r>
              <a:t>Title here</a:t>
            </a:r>
          </a:p>
        </p:txBody>
      </p:sp>
      <p:sp>
        <p:nvSpPr>
          <p:cNvPr id="183" name="Double-click to add content"/>
          <p:cNvSpPr txBox="1">
            <a:spLocks noGrp="1"/>
          </p:cNvSpPr>
          <p:nvPr>
            <p:ph type="body" sz="quarter" idx="23" hasCustomPrompt="1"/>
          </p:nvPr>
        </p:nvSpPr>
        <p:spPr>
          <a:xfrm>
            <a:off x="4927326" y="3909639"/>
            <a:ext cx="2421243" cy="17734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/>
            </a:lvl1pPr>
            <a:lvl2pPr marL="180000" indent="0">
              <a:buFont typeface="Arial" panose="020B0604020202020204" pitchFamily="34" charset="0"/>
              <a:buNone/>
              <a:defRPr sz="1400"/>
            </a:lvl2pPr>
            <a:lvl3pPr marL="360000" indent="0">
              <a:buFont typeface="Arial" panose="020B0604020202020204" pitchFamily="34" charset="0"/>
              <a:buNone/>
              <a:defRPr sz="1400"/>
            </a:lvl3pPr>
            <a:lvl4pPr marL="540000" indent="0">
              <a:buFont typeface="Arial" panose="020B0604020202020204" pitchFamily="34" charset="0"/>
              <a:buNone/>
              <a:defRPr sz="1400"/>
            </a:lvl4pPr>
            <a:lvl5pPr marL="720000" indent="0">
              <a:buFont typeface="Arial" panose="020B0604020202020204" pitchFamily="34" charset="0"/>
              <a:buNone/>
              <a:defRPr sz="1400"/>
            </a:lvl5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4" name="Double-click to add content"/>
          <p:cNvSpPr txBox="1">
            <a:spLocks noGrp="1"/>
          </p:cNvSpPr>
          <p:nvPr>
            <p:ph type="body" sz="quarter" idx="24" hasCustomPrompt="1"/>
          </p:nvPr>
        </p:nvSpPr>
        <p:spPr>
          <a:xfrm>
            <a:off x="7819138" y="3909639"/>
            <a:ext cx="2337349" cy="1773499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1400"/>
            </a:lvl1pPr>
            <a:lvl2pPr marL="180000" indent="0">
              <a:buFont typeface="Arial" panose="020B0604020202020204" pitchFamily="34" charset="0"/>
              <a:buNone/>
              <a:defRPr sz="1400"/>
            </a:lvl2pPr>
            <a:lvl3pPr marL="360000" indent="0">
              <a:buFont typeface="Arial" panose="020B0604020202020204" pitchFamily="34" charset="0"/>
              <a:buNone/>
              <a:defRPr sz="1400"/>
            </a:lvl3pPr>
            <a:lvl4pPr marL="540000" indent="0">
              <a:buFont typeface="Arial" panose="020B0604020202020204" pitchFamily="34" charset="0"/>
              <a:buNone/>
              <a:defRPr sz="1400"/>
            </a:lvl4pPr>
            <a:lvl5pPr marL="720000" indent="0">
              <a:buFont typeface="Arial" panose="020B0604020202020204" pitchFamily="34" charset="0"/>
              <a:buNone/>
              <a:defRPr sz="1400"/>
            </a:lvl5pPr>
          </a:lstStyle>
          <a:p>
            <a:r>
              <a:rPr lang="en-GB"/>
              <a:t>Body Level One</a:t>
            </a:r>
          </a:p>
          <a:p>
            <a:pPr lvl="1"/>
            <a:r>
              <a:rPr lang="en-GB"/>
              <a:t>Body Level Two</a:t>
            </a:r>
          </a:p>
          <a:p>
            <a:pPr lvl="2"/>
            <a:r>
              <a:rPr lang="en-GB"/>
              <a:t>Body Level Three</a:t>
            </a:r>
          </a:p>
          <a:p>
            <a:pPr lvl="3"/>
            <a:r>
              <a:rPr lang="en-GB"/>
              <a:t>Body Level Four</a:t>
            </a:r>
          </a:p>
          <a:p>
            <a:pPr lvl="4"/>
            <a:r>
              <a:rPr lang="en-GB"/>
              <a:t>Body Level Five</a:t>
            </a:r>
          </a:p>
        </p:txBody>
      </p:sp>
      <p:sp>
        <p:nvSpPr>
          <p:cNvPr id="185" name="Double-click to edit subtitle"/>
          <p:cNvSpPr txBox="1">
            <a:spLocks noGrp="1"/>
          </p:cNvSpPr>
          <p:nvPr>
            <p:ph type="body" sz="quarter" idx="25"/>
          </p:nvPr>
        </p:nvSpPr>
        <p:spPr>
          <a:xfrm>
            <a:off x="1214722" y="1438701"/>
            <a:ext cx="3680421" cy="714683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ts val="2250"/>
              </a:lnSpc>
              <a:defRPr sz="3000"/>
            </a:pPr>
            <a:r>
              <a:t>Double-click to edit subtitle </a:t>
            </a:r>
          </a:p>
        </p:txBody>
      </p:sp>
      <p:sp>
        <p:nvSpPr>
          <p:cNvPr id="186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581F5CA-F75E-BB43-835A-5FAB4CEF1D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2A9DD8D0-78AA-C544-AD61-F536CD9253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ectangle">
            <a:extLst>
              <a:ext uri="{FF2B5EF4-FFF2-40B4-BE49-F238E27FC236}">
                <a16:creationId xmlns:a16="http://schemas.microsoft.com/office/drawing/2014/main" id="{34D83010-D998-2A45-B67C-B88D178AEF1B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075375747"/>
      </p:ext>
    </p:extLst>
  </p:cSld>
  <p:clrMapOvr>
    <a:masterClrMapping/>
  </p:clrMapOvr>
  <p:transition spd="med"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ullet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99" name="Circle"/>
          <p:cNvSpPr>
            <a:spLocks noGrp="1"/>
          </p:cNvSpPr>
          <p:nvPr>
            <p:ph type="body" sz="quarter" idx="13"/>
          </p:nvPr>
        </p:nvSpPr>
        <p:spPr>
          <a:xfrm>
            <a:off x="912893" y="2073509"/>
            <a:ext cx="3270375" cy="3270375"/>
          </a:xfrm>
          <a:prstGeom prst="ellipse">
            <a:avLst/>
          </a:prstGeom>
          <a:solidFill>
            <a:srgbClr val="FFC556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00" name="Circle"/>
          <p:cNvSpPr>
            <a:spLocks noGrp="1"/>
          </p:cNvSpPr>
          <p:nvPr>
            <p:ph type="body" sz="quarter" idx="14"/>
          </p:nvPr>
        </p:nvSpPr>
        <p:spPr>
          <a:xfrm>
            <a:off x="4460813" y="2073509"/>
            <a:ext cx="3270375" cy="3270375"/>
          </a:xfrm>
          <a:prstGeom prst="ellipse">
            <a:avLst/>
          </a:prstGeom>
          <a:solidFill>
            <a:srgbClr val="58CAE8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01" name="Circle"/>
          <p:cNvSpPr>
            <a:spLocks noGrp="1"/>
          </p:cNvSpPr>
          <p:nvPr>
            <p:ph type="body" sz="quarter" idx="15"/>
          </p:nvPr>
        </p:nvSpPr>
        <p:spPr>
          <a:xfrm>
            <a:off x="8083317" y="2073509"/>
            <a:ext cx="3270375" cy="3270375"/>
          </a:xfrm>
          <a:prstGeom prst="ellipse">
            <a:avLst/>
          </a:prstGeom>
          <a:solidFill>
            <a:srgbClr val="5C078B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CE83823-F8EA-3B4A-8E67-1AD1E407D0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A2875AB-9366-6941-9F64-68690E3F5A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0" name="Rectangle">
            <a:extLst>
              <a:ext uri="{FF2B5EF4-FFF2-40B4-BE49-F238E27FC236}">
                <a16:creationId xmlns:a16="http://schemas.microsoft.com/office/drawing/2014/main" id="{4144F2B1-A684-904C-80B1-5CAE8FD8A5FE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1077465354"/>
      </p:ext>
    </p:extLst>
  </p:cSld>
  <p:clrMapOvr>
    <a:masterClrMapping/>
  </p:clrMapOvr>
  <p:transition spd="med"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bullets v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99" name="Circle"/>
          <p:cNvSpPr>
            <a:spLocks noGrp="1"/>
          </p:cNvSpPr>
          <p:nvPr>
            <p:ph type="body" sz="quarter" idx="13"/>
          </p:nvPr>
        </p:nvSpPr>
        <p:spPr>
          <a:xfrm>
            <a:off x="912893" y="2073509"/>
            <a:ext cx="3270375" cy="3270375"/>
          </a:xfrm>
          <a:prstGeom prst="ellipse">
            <a:avLst/>
          </a:prstGeom>
          <a:solidFill>
            <a:srgbClr val="F5C2CC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00" name="Circle"/>
          <p:cNvSpPr>
            <a:spLocks noGrp="1"/>
          </p:cNvSpPr>
          <p:nvPr>
            <p:ph type="body" sz="quarter" idx="14"/>
          </p:nvPr>
        </p:nvSpPr>
        <p:spPr>
          <a:xfrm>
            <a:off x="4460813" y="2073509"/>
            <a:ext cx="3270375" cy="3270375"/>
          </a:xfrm>
          <a:prstGeom prst="ellipse">
            <a:avLst/>
          </a:prstGeom>
          <a:solidFill>
            <a:srgbClr val="323D47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201" name="Circle"/>
          <p:cNvSpPr>
            <a:spLocks noGrp="1"/>
          </p:cNvSpPr>
          <p:nvPr>
            <p:ph type="body" sz="quarter" idx="15"/>
          </p:nvPr>
        </p:nvSpPr>
        <p:spPr>
          <a:xfrm>
            <a:off x="8083317" y="2073509"/>
            <a:ext cx="3270375" cy="3270375"/>
          </a:xfrm>
          <a:prstGeom prst="ellipse">
            <a:avLst/>
          </a:prstGeom>
          <a:solidFill>
            <a:srgbClr val="C4E288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CE83823-F8EA-3B4A-8E67-1AD1E407D05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0A2875AB-9366-6941-9F64-68690E3F5A2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0" name="Rectangle">
            <a:extLst>
              <a:ext uri="{FF2B5EF4-FFF2-40B4-BE49-F238E27FC236}">
                <a16:creationId xmlns:a16="http://schemas.microsoft.com/office/drawing/2014/main" id="{E50796C8-16DD-6545-A689-E800A655EEDD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3053539324"/>
      </p:ext>
    </p:extLst>
  </p:cSld>
  <p:clrMapOvr>
    <a:masterClrMapping/>
  </p:clrMapOvr>
  <p:transition spd="med"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Stat slide with icons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7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351" name="Double-click to add text, can span over a few lines"/>
          <p:cNvSpPr txBox="1">
            <a:spLocks noGrp="1"/>
          </p:cNvSpPr>
          <p:nvPr>
            <p:ph type="body" sz="quarter" idx="13"/>
          </p:nvPr>
        </p:nvSpPr>
        <p:spPr>
          <a:xfrm>
            <a:off x="1406433" y="3971358"/>
            <a:ext cx="2156132" cy="7936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Double-click to add text, can span over a few lines </a:t>
            </a:r>
          </a:p>
        </p:txBody>
      </p:sp>
      <p:sp>
        <p:nvSpPr>
          <p:cNvPr id="352" name="Double-click to add text, can span over a few lines"/>
          <p:cNvSpPr txBox="1">
            <a:spLocks noGrp="1"/>
          </p:cNvSpPr>
          <p:nvPr>
            <p:ph type="body" sz="quarter" idx="14"/>
          </p:nvPr>
        </p:nvSpPr>
        <p:spPr>
          <a:xfrm>
            <a:off x="5034602" y="3969556"/>
            <a:ext cx="2156131" cy="7936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Double-click to add text, can span over a few lines </a:t>
            </a:r>
          </a:p>
        </p:txBody>
      </p:sp>
      <p:sp>
        <p:nvSpPr>
          <p:cNvPr id="353" name="Double-click to add text, can span over a few lines"/>
          <p:cNvSpPr txBox="1">
            <a:spLocks noGrp="1"/>
          </p:cNvSpPr>
          <p:nvPr>
            <p:ph type="body" sz="quarter" idx="15"/>
          </p:nvPr>
        </p:nvSpPr>
        <p:spPr>
          <a:xfrm>
            <a:off x="8877464" y="3964196"/>
            <a:ext cx="2156132" cy="793615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400"/>
            </a:lvl1pPr>
          </a:lstStyle>
          <a:p>
            <a:r>
              <a:t>Double-click to add text, can span over a few lines </a:t>
            </a:r>
          </a:p>
        </p:txBody>
      </p:sp>
      <p:sp>
        <p:nvSpPr>
          <p:cNvPr id="354" name="89%"/>
          <p:cNvSpPr txBox="1">
            <a:spLocks noGrp="1"/>
          </p:cNvSpPr>
          <p:nvPr>
            <p:ph type="body" sz="quarter" idx="16"/>
          </p:nvPr>
        </p:nvSpPr>
        <p:spPr>
          <a:xfrm>
            <a:off x="1398878" y="2989086"/>
            <a:ext cx="1598133" cy="104528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7650"/>
              </a:lnSpc>
              <a:defRPr sz="6000" spc="-360">
                <a:solidFill>
                  <a:srgbClr val="5C078B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89%</a:t>
            </a:r>
          </a:p>
        </p:txBody>
      </p:sp>
      <p:sp>
        <p:nvSpPr>
          <p:cNvPr id="355" name="80%"/>
          <p:cNvSpPr txBox="1">
            <a:spLocks noGrp="1"/>
          </p:cNvSpPr>
          <p:nvPr>
            <p:ph type="body" sz="quarter" idx="17"/>
          </p:nvPr>
        </p:nvSpPr>
        <p:spPr>
          <a:xfrm>
            <a:off x="5001268" y="2989086"/>
            <a:ext cx="1598133" cy="104528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7650"/>
              </a:lnSpc>
              <a:defRPr sz="6000" spc="-360">
                <a:solidFill>
                  <a:srgbClr val="5C078B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80%</a:t>
            </a:r>
          </a:p>
        </p:txBody>
      </p:sp>
      <p:sp>
        <p:nvSpPr>
          <p:cNvPr id="356" name="52%"/>
          <p:cNvSpPr txBox="1">
            <a:spLocks noGrp="1"/>
          </p:cNvSpPr>
          <p:nvPr>
            <p:ph type="body" sz="quarter" idx="18"/>
          </p:nvPr>
        </p:nvSpPr>
        <p:spPr>
          <a:xfrm>
            <a:off x="8877464" y="2982423"/>
            <a:ext cx="1598133" cy="1045286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ts val="7650"/>
              </a:lnSpc>
              <a:defRPr sz="6000" spc="-360">
                <a:solidFill>
                  <a:srgbClr val="5C078B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</a:lstStyle>
          <a:p>
            <a:r>
              <a:t>52%</a:t>
            </a:r>
          </a:p>
        </p:txBody>
      </p:sp>
      <p:sp>
        <p:nvSpPr>
          <p:cNvPr id="357" name="Image"/>
          <p:cNvSpPr>
            <a:spLocks noGrp="1"/>
          </p:cNvSpPr>
          <p:nvPr>
            <p:ph type="pic" sz="quarter" idx="19"/>
          </p:nvPr>
        </p:nvSpPr>
        <p:spPr>
          <a:xfrm>
            <a:off x="1407240" y="1694458"/>
            <a:ext cx="1277558" cy="12775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58" name="Image"/>
          <p:cNvSpPr>
            <a:spLocks noGrp="1"/>
          </p:cNvSpPr>
          <p:nvPr>
            <p:ph type="pic" sz="quarter" idx="20"/>
          </p:nvPr>
        </p:nvSpPr>
        <p:spPr>
          <a:xfrm>
            <a:off x="8864237" y="1694458"/>
            <a:ext cx="1277557" cy="12775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sp>
        <p:nvSpPr>
          <p:cNvPr id="359" name="Image"/>
          <p:cNvSpPr>
            <a:spLocks noGrp="1"/>
          </p:cNvSpPr>
          <p:nvPr>
            <p:ph type="pic" sz="quarter" idx="21"/>
          </p:nvPr>
        </p:nvSpPr>
        <p:spPr>
          <a:xfrm>
            <a:off x="5015465" y="1694458"/>
            <a:ext cx="1277558" cy="1277557"/>
          </a:xfrm>
          <a:prstGeom prst="rect">
            <a:avLst/>
          </a:prstGeom>
        </p:spPr>
        <p:txBody>
          <a:bodyPr lIns="91439" tIns="45719" rIns="91439" bIns="45719"/>
          <a:lstStyle/>
          <a:p>
            <a:endParaRPr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3306E046-57E1-4346-9B25-563870C7C4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AC8ACF7-3386-C442-BE3B-5532A59B164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8" name="Rectangle">
            <a:extLst>
              <a:ext uri="{FF2B5EF4-FFF2-40B4-BE49-F238E27FC236}">
                <a16:creationId xmlns:a16="http://schemas.microsoft.com/office/drawing/2014/main" id="{596DB123-3DF9-F94B-891E-5C4E7BC9E1C0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222139818"/>
      </p:ext>
    </p:extLst>
  </p:cSld>
  <p:clrMapOvr>
    <a:masterClrMapping/>
  </p:clrMapOvr>
  <p:transition spd="med"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" name="Copyright © 2019 Sinch. All rights reserved. NDA Confidential.">
            <a:extLst>
              <a:ext uri="{FF2B5EF4-FFF2-40B4-BE49-F238E27FC236}">
                <a16:creationId xmlns:a16="http://schemas.microsoft.com/office/drawing/2014/main" id="{54566469-0863-0F49-BD49-4FF8068E40DA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rgbClr val="414B53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742304811"/>
      </p:ext>
    </p:extLst>
  </p:cSld>
  <p:clrMapOvr>
    <a:masterClrMapping/>
  </p:clrMapOvr>
  <p:transition spd="med"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E40BEB-5CA0-D647-B0D3-6D4483C65C3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0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288" name="Click to edit subtitle"/>
          <p:cNvSpPr txBox="1">
            <a:spLocks noGrp="1"/>
          </p:cNvSpPr>
          <p:nvPr>
            <p:ph type="body" sz="quarter" idx="17"/>
          </p:nvPr>
        </p:nvSpPr>
        <p:spPr>
          <a:xfrm>
            <a:off x="6727410" y="1287750"/>
            <a:ext cx="4150660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Click to edit subtitle</a:t>
            </a:r>
          </a:p>
        </p:txBody>
      </p:sp>
      <p:sp>
        <p:nvSpPr>
          <p:cNvPr id="289" name="Click to edit title…"/>
          <p:cNvSpPr txBox="1">
            <a:spLocks noGrp="1"/>
          </p:cNvSpPr>
          <p:nvPr>
            <p:ph type="body" sz="quarter" idx="18" hasCustomPrompt="1"/>
          </p:nvPr>
        </p:nvSpPr>
        <p:spPr>
          <a:xfrm>
            <a:off x="6733625" y="2348145"/>
            <a:ext cx="4606351" cy="196887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50000"/>
              </a:lnSpc>
              <a:defRPr/>
            </a:lvl1pPr>
          </a:lstStyle>
          <a:p>
            <a:pPr>
              <a:lnSpc>
                <a:spcPct val="110000"/>
              </a:lnSpc>
              <a:defRPr sz="2800" b="1"/>
            </a:pPr>
            <a:r>
              <a:t>Click to edit title</a:t>
            </a:r>
          </a:p>
          <a:p>
            <a:pPr>
              <a:lnSpc>
                <a:spcPct val="110000"/>
              </a:lnSpc>
              <a:defRPr sz="2800"/>
            </a:pPr>
            <a:r>
              <a:t>Body copy in here, can span over </a:t>
            </a:r>
            <a:endParaRPr lang="en-GB"/>
          </a:p>
          <a:p>
            <a:pPr>
              <a:lnSpc>
                <a:spcPct val="110000"/>
              </a:lnSpc>
              <a:defRPr sz="2800"/>
            </a:pPr>
            <a:r>
              <a:t>2 lines </a:t>
            </a:r>
          </a:p>
        </p:txBody>
      </p:sp>
      <p:sp>
        <p:nvSpPr>
          <p:cNvPr id="291" name="Click to edit title…"/>
          <p:cNvSpPr txBox="1">
            <a:spLocks noGrp="1"/>
          </p:cNvSpPr>
          <p:nvPr>
            <p:ph type="body" sz="quarter" idx="20" hasCustomPrompt="1"/>
          </p:nvPr>
        </p:nvSpPr>
        <p:spPr>
          <a:xfrm>
            <a:off x="6733625" y="3716126"/>
            <a:ext cx="4606352" cy="1968872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50000"/>
              </a:lnSpc>
              <a:defRPr/>
            </a:lvl1pPr>
          </a:lstStyle>
          <a:p>
            <a:pPr>
              <a:lnSpc>
                <a:spcPct val="110000"/>
              </a:lnSpc>
              <a:defRPr sz="2800" b="1"/>
            </a:pPr>
            <a:r>
              <a:t>Click to edit title</a:t>
            </a:r>
          </a:p>
          <a:p>
            <a:pPr>
              <a:lnSpc>
                <a:spcPct val="110000"/>
              </a:lnSpc>
              <a:defRPr sz="2800"/>
            </a:pPr>
            <a:r>
              <a:t>Body copy in here, can span over </a:t>
            </a:r>
            <a:endParaRPr lang="en-GB"/>
          </a:p>
          <a:p>
            <a:pPr>
              <a:lnSpc>
                <a:spcPct val="110000"/>
              </a:lnSpc>
              <a:defRPr sz="2800"/>
            </a:pPr>
            <a:r>
              <a:t>2 lines </a:t>
            </a:r>
          </a:p>
        </p:txBody>
      </p:sp>
      <p:sp>
        <p:nvSpPr>
          <p:cNvPr id="293" name="Click to edit title…"/>
          <p:cNvSpPr txBox="1">
            <a:spLocks noGrp="1"/>
          </p:cNvSpPr>
          <p:nvPr>
            <p:ph type="body" sz="quarter" idx="22" hasCustomPrompt="1"/>
          </p:nvPr>
        </p:nvSpPr>
        <p:spPr>
          <a:xfrm>
            <a:off x="6733625" y="5086567"/>
            <a:ext cx="4606351" cy="196887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lnSpc>
                <a:spcPct val="110000"/>
              </a:lnSpc>
              <a:defRPr sz="2800" b="1"/>
            </a:pPr>
            <a:r>
              <a:t>Click to edit title</a:t>
            </a:r>
          </a:p>
          <a:p>
            <a:pPr>
              <a:lnSpc>
                <a:spcPct val="110000"/>
              </a:lnSpc>
              <a:defRPr sz="2800"/>
            </a:pPr>
            <a:r>
              <a:t>Body copy in here, can span over </a:t>
            </a:r>
            <a:endParaRPr lang="en-GB"/>
          </a:p>
          <a:p>
            <a:pPr>
              <a:lnSpc>
                <a:spcPct val="110000"/>
              </a:lnSpc>
              <a:defRPr sz="2800"/>
            </a:pPr>
            <a:r>
              <a:t>2 lines </a:t>
            </a:r>
          </a:p>
        </p:txBody>
      </p:sp>
      <p:sp>
        <p:nvSpPr>
          <p:cNvPr id="295" name="Title Text"/>
          <p:cNvSpPr txBox="1">
            <a:spLocks noGrp="1"/>
          </p:cNvSpPr>
          <p:nvPr>
            <p:ph type="title"/>
          </p:nvPr>
        </p:nvSpPr>
        <p:spPr>
          <a:xfrm>
            <a:off x="6718300" y="718552"/>
            <a:ext cx="4666159" cy="57629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ED4E2E9-7193-7E4D-906C-C2095106BB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48FCD72-4A25-3848-BB48-B46D145AA3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6D5855B-403C-5E44-8858-2B2EFC4BDB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733625" y="3396995"/>
            <a:ext cx="1440149" cy="22860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7ED46C4-A3E0-5541-8903-4397CDD0328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718300" y="4765379"/>
            <a:ext cx="1440149" cy="22860"/>
          </a:xfrm>
          <a:prstGeom prst="rect">
            <a:avLst/>
          </a:prstGeom>
        </p:spPr>
      </p:pic>
      <p:sp>
        <p:nvSpPr>
          <p:cNvPr id="14" name="Rectangle">
            <a:extLst>
              <a:ext uri="{FF2B5EF4-FFF2-40B4-BE49-F238E27FC236}">
                <a16:creationId xmlns:a16="http://schemas.microsoft.com/office/drawing/2014/main" id="{78AD84C7-B9C8-174D-92DB-4BA4260F32E6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1968344352"/>
      </p:ext>
    </p:extLst>
  </p:cSld>
  <p:clrMapOvr>
    <a:masterClrMapping/>
  </p:clrMapOvr>
  <p:transition spd="med"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Half Pag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FE40BEB-5CA0-D647-B0D3-6D4483C65C3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096000" y="0"/>
            <a:ext cx="6096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80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5ED4E2E9-7193-7E4D-906C-C2095106BB9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948FCD72-4A25-3848-BB48-B46D145AA34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4" name="Title Text">
            <a:extLst>
              <a:ext uri="{FF2B5EF4-FFF2-40B4-BE49-F238E27FC236}">
                <a16:creationId xmlns:a16="http://schemas.microsoft.com/office/drawing/2014/main" id="{18675C1D-BE09-694C-B6AF-A42DA928549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104801"/>
            <a:ext cx="396691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5" name="Double-Click to edit subtitle">
            <a:extLst>
              <a:ext uri="{FF2B5EF4-FFF2-40B4-BE49-F238E27FC236}">
                <a16:creationId xmlns:a16="http://schemas.microsoft.com/office/drawing/2014/main" id="{397F2D8A-9F18-9E4B-BEB5-53292B9D6583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>
            <a:off x="1201364" y="715748"/>
            <a:ext cx="3634981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pPr lvl="1"/>
            <a:r>
              <a:t>Double-Click to edit subtitle</a:t>
            </a:r>
          </a:p>
        </p:txBody>
      </p:sp>
      <p:sp>
        <p:nvSpPr>
          <p:cNvPr id="18" name="Rectangle">
            <a:extLst>
              <a:ext uri="{FF2B5EF4-FFF2-40B4-BE49-F238E27FC236}">
                <a16:creationId xmlns:a16="http://schemas.microsoft.com/office/drawing/2014/main" id="{77263D6D-6422-7E4B-9CE3-2EADA75089F7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FD7A1C95-78B4-0A4F-B849-747FE340ECD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2837221143"/>
      </p:ext>
    </p:extLst>
  </p:cSld>
  <p:clrMapOvr>
    <a:masterClrMapping/>
  </p:clrMapOvr>
  <p:transition spd="med"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8696F5B-ED26-0444-B43C-A6D41AEB5EC1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C556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453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457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58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738DC7E-25A2-CD4B-8D4E-DB8923759E4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67C8285-5692-3646-AF20-01D78CD0FC0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4" name="Rectangle">
            <a:extLst>
              <a:ext uri="{FF2B5EF4-FFF2-40B4-BE49-F238E27FC236}">
                <a16:creationId xmlns:a16="http://schemas.microsoft.com/office/drawing/2014/main" id="{C42B0A6F-F28E-8443-A133-41702AC615A0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9" name="Body Level One…">
            <a:extLst>
              <a:ext uri="{FF2B5EF4-FFF2-40B4-BE49-F238E27FC236}">
                <a16:creationId xmlns:a16="http://schemas.microsoft.com/office/drawing/2014/main" id="{B6305302-FEB2-3F45-82AA-B7F9A3A0C14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</p:spTree>
    <p:extLst>
      <p:ext uri="{BB962C8B-B14F-4D97-AF65-F5344CB8AC3E}">
        <p14:creationId xmlns:p14="http://schemas.microsoft.com/office/powerpoint/2010/main" val="495117716"/>
      </p:ext>
    </p:extLst>
  </p:cSld>
  <p:clrMapOvr>
    <a:masterClrMapping/>
  </p:clrMapOvr>
  <p:transition spd="med"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Re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017253DF-09F9-9448-BF14-B4D5DFEFE177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03C52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4" name="Body Level One…">
            <a:extLst>
              <a:ext uri="{FF2B5EF4-FFF2-40B4-BE49-F238E27FC236}">
                <a16:creationId xmlns:a16="http://schemas.microsoft.com/office/drawing/2014/main" id="{31242498-E16B-844D-9F81-DA209D9E229E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68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472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73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9D4EF0-3A17-EE4A-B585-6674E10F0201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99A0694-6314-FC40-8FC1-956D83758A0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BE59FE7B-169D-404A-8270-BBDE2442266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2227465"/>
      </p:ext>
    </p:extLst>
  </p:cSld>
  <p:clrMapOvr>
    <a:masterClrMapping/>
  </p:clrMapOvr>
  <p:transition spd="med"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Purple copy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26B9F312-293D-D747-9054-17B9BC602775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5C068B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4" name="Body Level One…">
            <a:extLst>
              <a:ext uri="{FF2B5EF4-FFF2-40B4-BE49-F238E27FC236}">
                <a16:creationId xmlns:a16="http://schemas.microsoft.com/office/drawing/2014/main" id="{27035AAC-CCAB-D64B-946C-8CFFF6CE5E13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483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487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488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FD80013F-F57E-5C45-80BC-7B602895BCAE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0F869FBF-6262-5F4C-8238-4AB928A1F9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1B11854-E877-654D-AB27-C6BAA9E96A6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3781773"/>
      </p:ext>
    </p:extLst>
  </p:cSld>
  <p:clrMapOvr>
    <a:masterClrMapping/>
  </p:clrMapOvr>
  <p:transition spd="med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ol gray 10 rectangle">
            <a:extLst>
              <a:ext uri="{FF2B5EF4-FFF2-40B4-BE49-F238E27FC236}">
                <a16:creationId xmlns:a16="http://schemas.microsoft.com/office/drawing/2014/main" id="{838ABCAC-D266-7244-9068-DAD3FE4E7C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3F3F3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227861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28BC747B-4E28-0445-BDB9-F4869E902F3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C4E28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EC42676A-96DA-2541-8934-E8A3B5FF7559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13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517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18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55E0A14-0433-B941-BBF1-0042D82ACA1D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43F927C5-8B98-284B-A8B5-97AA1368DB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B3144359-F276-8B47-8CFA-1734F964611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915806"/>
      </p:ext>
    </p:extLst>
  </p:cSld>
  <p:clrMapOvr>
    <a:masterClrMapping/>
  </p:clrMapOvr>
  <p:transition spd="med"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Ash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0AB4508-FB48-8C4E-BF0E-FCD46588525A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B8DDE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C4304C58-50C0-E94B-B6DB-A4C43AD77475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27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531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32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FC140965-929F-C046-A777-F9D4E63A77E1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1EC0C57-A3ED-D54E-9267-ADFC8FE0BD7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5B8F3A5D-098E-B246-86A6-B83D7CCD22C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6841063"/>
      </p:ext>
    </p:extLst>
  </p:cSld>
  <p:clrMapOvr>
    <a:masterClrMapping/>
  </p:clrMapOvr>
  <p:transition spd="med"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Blu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FAFDEBED-7A3B-024C-87D1-B6EA9E8E69C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58CA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2DCBCBAC-2BA5-2F47-A400-5609175293F6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4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545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46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FCEB362F-2C5D-264D-8981-0598EE24DB7A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8E6ADA-7B53-FE4F-87A6-DC8413FB4F9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E84FF94-A6C2-2544-88B6-233EF1E5C9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5430976"/>
      </p:ext>
    </p:extLst>
  </p:cSld>
  <p:clrMapOvr>
    <a:masterClrMapping/>
  </p:clrMapOvr>
  <p:transition spd="med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Half Page Layout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4486B9E-AF9B-6645-AB77-5CAE5B3F55F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5C3C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3" name="Body Level One…">
            <a:extLst>
              <a:ext uri="{FF2B5EF4-FFF2-40B4-BE49-F238E27FC236}">
                <a16:creationId xmlns:a16="http://schemas.microsoft.com/office/drawing/2014/main" id="{25A78633-253F-864F-8E13-7AB76742B795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55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559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60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D5D68FD4-E5B8-D54C-BFED-38EF918C7D6A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59C1B84-4A74-7647-8F2E-E6FCCD5A0B1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2AD6A2A7-6B46-7147-938C-74FADEE431C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0466505"/>
      </p:ext>
    </p:extLst>
  </p:cSld>
  <p:clrMapOvr>
    <a:masterClrMapping/>
  </p:clrMapOvr>
  <p:transition spd="med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Demo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864ED2-A992-1145-ABE9-DAAEE9DC6966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7DAD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3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4E2427EA-CF6A-EC45-8E55-D9EFF55B758D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4EAE8B-9601-AA41-BFA4-08EF9E802BB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668" y="790599"/>
            <a:ext cx="4969107" cy="5332089"/>
          </a:xfrm>
          <a:prstGeom prst="rect">
            <a:avLst/>
          </a:prstGeom>
        </p:spPr>
      </p:pic>
      <p:sp>
        <p:nvSpPr>
          <p:cNvPr id="311" name="Rounded Rectangle"/>
          <p:cNvSpPr>
            <a:spLocks noGrp="1"/>
          </p:cNvSpPr>
          <p:nvPr>
            <p:ph type="body" sz="quarter" idx="17"/>
          </p:nvPr>
        </p:nvSpPr>
        <p:spPr>
          <a:xfrm>
            <a:off x="8146774" y="1108866"/>
            <a:ext cx="2327044" cy="470478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F4D1B33B-2C1A-1343-B555-59E41807DEC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32C81B2A-1D6F-7A46-881B-43B6306683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6774" y="110886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174579"/>
      </p:ext>
    </p:extLst>
  </p:cSld>
  <p:clrMapOvr>
    <a:masterClrMapping/>
  </p:clrMapOvr>
  <p:transition spd="med"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Demo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864ED2-A992-1145-ABE9-DAAEE9DC6966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AECB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3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4E2427EA-CF6A-EC45-8E55-D9EFF55B758D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7E9C30C-9C0E-204A-B54D-4D6CB66BF4D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668" y="790599"/>
            <a:ext cx="4969107" cy="5332089"/>
          </a:xfrm>
          <a:prstGeom prst="rect">
            <a:avLst/>
          </a:prstGeom>
        </p:spPr>
      </p:pic>
      <p:sp>
        <p:nvSpPr>
          <p:cNvPr id="13" name="Rounded Rectangle">
            <a:extLst>
              <a:ext uri="{FF2B5EF4-FFF2-40B4-BE49-F238E27FC236}">
                <a16:creationId xmlns:a16="http://schemas.microsoft.com/office/drawing/2014/main" id="{79B5E0A0-F624-5E4B-8904-5A1229EF12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7525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9B57E086-AF0C-E14E-8545-D249C53F9FEA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87E8B5E-3205-A44A-95E6-8F18564153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6774" y="110886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679516"/>
      </p:ext>
    </p:extLst>
  </p:cSld>
  <p:clrMapOvr>
    <a:masterClrMapping/>
  </p:clrMapOvr>
  <p:transition spd="med"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Demo Pur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864ED2-A992-1145-ABE9-DAAEE9DC6966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FCE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3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4E2427EA-CF6A-EC45-8E55-D9EFF55B758D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0881FF5-A016-9441-8D04-70D4088361C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668" y="790599"/>
            <a:ext cx="4969107" cy="5332089"/>
          </a:xfrm>
          <a:prstGeom prst="rect">
            <a:avLst/>
          </a:prstGeom>
        </p:spPr>
      </p:pic>
      <p:sp>
        <p:nvSpPr>
          <p:cNvPr id="13" name="Rounded Rectangle">
            <a:extLst>
              <a:ext uri="{FF2B5EF4-FFF2-40B4-BE49-F238E27FC236}">
                <a16:creationId xmlns:a16="http://schemas.microsoft.com/office/drawing/2014/main" id="{A105A1A5-AC9F-404C-8D5F-04A0264801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7525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3D35F70A-0FEE-E245-9C2F-4D54E9C9CD00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0AC739D2-5A84-AD4D-9FDD-5ED9C6F5613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6774" y="110886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52575"/>
      </p:ext>
    </p:extLst>
  </p:cSld>
  <p:clrMapOvr>
    <a:masterClrMapping/>
  </p:clrMapOvr>
  <p:transition spd="med"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Demo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864ED2-A992-1145-ABE9-DAAEE9DC6966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2F1F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3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4E2427EA-CF6A-EC45-8E55-D9EFF55B758D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FA820D91-86E8-C444-9F63-D7626A4F3D1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668" y="790599"/>
            <a:ext cx="4969107" cy="5332089"/>
          </a:xfrm>
          <a:prstGeom prst="rect">
            <a:avLst/>
          </a:prstGeom>
        </p:spPr>
      </p:pic>
      <p:sp>
        <p:nvSpPr>
          <p:cNvPr id="13" name="Rounded Rectangle">
            <a:extLst>
              <a:ext uri="{FF2B5EF4-FFF2-40B4-BE49-F238E27FC236}">
                <a16:creationId xmlns:a16="http://schemas.microsoft.com/office/drawing/2014/main" id="{F067ECDA-71C5-F64A-B597-DD32C4692A7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7525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2B587662-5CA0-7540-A632-7B1576C6D5C2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5B44E78-F6BD-5140-8074-FEB75E0D893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61175" y="1097985"/>
            <a:ext cx="2306293" cy="4721110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974722"/>
      </p:ext>
    </p:extLst>
  </p:cSld>
  <p:clrMapOvr>
    <a:masterClrMapping/>
  </p:clrMapOvr>
  <p:transition spd="med"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Demo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DD864ED2-A992-1145-ABE9-DAAEE9DC6966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E8B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0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30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30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308" name="Title Text"/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4275584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09" name="Double-click to edit subtitle"/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243925" cy="4420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4E2427EA-CF6A-EC45-8E55-D9EFF55B758D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B5D26EA-A9F4-C44A-8EE3-C679148A3A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80668" y="790599"/>
            <a:ext cx="4969107" cy="5332089"/>
          </a:xfrm>
          <a:prstGeom prst="rect">
            <a:avLst/>
          </a:prstGeom>
        </p:spPr>
      </p:pic>
      <p:sp>
        <p:nvSpPr>
          <p:cNvPr id="13" name="Rounded Rectangle">
            <a:extLst>
              <a:ext uri="{FF2B5EF4-FFF2-40B4-BE49-F238E27FC236}">
                <a16:creationId xmlns:a16="http://schemas.microsoft.com/office/drawing/2014/main" id="{A6FDA7CA-241D-C043-96F2-EEC9D0EB9D1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67525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Body Level One…">
            <a:extLst>
              <a:ext uri="{FF2B5EF4-FFF2-40B4-BE49-F238E27FC236}">
                <a16:creationId xmlns:a16="http://schemas.microsoft.com/office/drawing/2014/main" id="{89FEF044-5837-B940-AE8A-F7C75E7C6005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4219498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54A22CE3-BE72-184B-B0D6-103F465E4C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146774" y="110886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9632768"/>
      </p:ext>
    </p:extLst>
  </p:cSld>
  <p:clrMapOvr>
    <a:masterClrMapping/>
  </p:clrMapOvr>
  <p:transition spd="med"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+ Desktop Demo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0BF168-FFB2-0443-A2E7-1EB8128E495F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7DAD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1FC02A-E876-264A-A4C3-89BF5D831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229" y="715748"/>
            <a:ext cx="11433452" cy="5621553"/>
          </a:xfrm>
          <a:prstGeom prst="rect">
            <a:avLst/>
          </a:prstGeom>
        </p:spPr>
      </p:pic>
      <p:sp>
        <p:nvSpPr>
          <p:cNvPr id="35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C0ED6BA3-C975-DF47-9FD6-7B59D773122E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34D15D-C9B1-B246-B751-88588DFB6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0C6D52-29D4-FA4B-8D78-319A9D5CE2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D94EF76E-2BC7-DE49-86AB-5D26C79762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43463" y="2216713"/>
            <a:ext cx="1626785" cy="338089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7" name="Title Text">
            <a:extLst>
              <a:ext uri="{FF2B5EF4-FFF2-40B4-BE49-F238E27FC236}">
                <a16:creationId xmlns:a16="http://schemas.microsoft.com/office/drawing/2014/main" id="{C72F47D4-8DBD-7B40-B9D8-E93A3878AA73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3642463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8" name="Double-click to edit subtitle">
            <a:extLst>
              <a:ext uri="{FF2B5EF4-FFF2-40B4-BE49-F238E27FC236}">
                <a16:creationId xmlns:a16="http://schemas.microsoft.com/office/drawing/2014/main" id="{B50093DA-57EA-D04B-BC9A-1D22B8A35807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647855" cy="442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9" name="Body Level One…">
            <a:extLst>
              <a:ext uri="{FF2B5EF4-FFF2-40B4-BE49-F238E27FC236}">
                <a16:creationId xmlns:a16="http://schemas.microsoft.com/office/drawing/2014/main" id="{8D942037-CCA6-D04A-B272-732AFDB81E1C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359468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5BB9747-56DF-8548-848D-E9DE37D886A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3463" y="2206268"/>
            <a:ext cx="1673288" cy="3391344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275747"/>
      </p:ext>
    </p:extLst>
  </p:cSld>
  <p:clrMapOvr>
    <a:masterClrMapping/>
  </p:clrMapOvr>
  <p:transition spd="med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059606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+ Desktop Demo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0BF168-FFB2-0443-A2E7-1EB8128E495F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AECB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1FC02A-E876-264A-A4C3-89BF5D831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229" y="715748"/>
            <a:ext cx="11433452" cy="5621553"/>
          </a:xfrm>
          <a:prstGeom prst="rect">
            <a:avLst/>
          </a:prstGeom>
        </p:spPr>
      </p:pic>
      <p:sp>
        <p:nvSpPr>
          <p:cNvPr id="35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C0ED6BA3-C975-DF47-9FD6-7B59D773122E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34D15D-C9B1-B246-B751-88588DFB6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0C6D52-29D4-FA4B-8D78-319A9D5CE2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D94EF76E-2BC7-DE49-86AB-5D26C79762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43463" y="2216713"/>
            <a:ext cx="1626785" cy="338089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CA561BAD-6426-3148-907A-1D50AED951C9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3642463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" name="Double-click to edit subtitle">
            <a:extLst>
              <a:ext uri="{FF2B5EF4-FFF2-40B4-BE49-F238E27FC236}">
                <a16:creationId xmlns:a16="http://schemas.microsoft.com/office/drawing/2014/main" id="{D24F9449-59B4-DE4F-B5A3-DC33A2ED7508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647855" cy="442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37692EA3-2FCD-D040-A5D3-54EF9C852DD5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359468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DDD53B66-E257-3246-A8E2-A92A95529E6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3463" y="2206268"/>
            <a:ext cx="1673288" cy="3391344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4317744"/>
      </p:ext>
    </p:extLst>
  </p:cSld>
  <p:clrMapOvr>
    <a:masterClrMapping/>
  </p:clrMapOvr>
  <p:transition spd="med"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+ Desktop Demo Pur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0BF168-FFB2-0443-A2E7-1EB8128E495F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FCE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1FC02A-E876-264A-A4C3-89BF5D831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229" y="715748"/>
            <a:ext cx="11433452" cy="5621553"/>
          </a:xfrm>
          <a:prstGeom prst="rect">
            <a:avLst/>
          </a:prstGeom>
        </p:spPr>
      </p:pic>
      <p:sp>
        <p:nvSpPr>
          <p:cNvPr id="35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C0ED6BA3-C975-DF47-9FD6-7B59D773122E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34D15D-C9B1-B246-B751-88588DFB6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0C6D52-29D4-FA4B-8D78-319A9D5CE2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D94EF76E-2BC7-DE49-86AB-5D26C79762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43463" y="2216713"/>
            <a:ext cx="1626785" cy="338089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3B491191-7F88-4748-872D-D7F4B112AAE0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3642463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" name="Double-click to edit subtitle">
            <a:extLst>
              <a:ext uri="{FF2B5EF4-FFF2-40B4-BE49-F238E27FC236}">
                <a16:creationId xmlns:a16="http://schemas.microsoft.com/office/drawing/2014/main" id="{A84168F0-D819-6F41-ADCD-F369CBB751DF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647855" cy="442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AB96E055-340E-CD4B-A415-F459632B5232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359468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54BAE93B-280E-B147-BDF2-AF79AEA15B4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3463" y="2206268"/>
            <a:ext cx="1673288" cy="3391344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874884"/>
      </p:ext>
    </p:extLst>
  </p:cSld>
  <p:clrMapOvr>
    <a:masterClrMapping/>
  </p:clrMapOvr>
  <p:transition spd="med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+ Desktop Demo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0BF168-FFB2-0443-A2E7-1EB8128E495F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2F1F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1FC02A-E876-264A-A4C3-89BF5D831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229" y="715748"/>
            <a:ext cx="11433452" cy="5621553"/>
          </a:xfrm>
          <a:prstGeom prst="rect">
            <a:avLst/>
          </a:prstGeom>
        </p:spPr>
      </p:pic>
      <p:sp>
        <p:nvSpPr>
          <p:cNvPr id="35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C0ED6BA3-C975-DF47-9FD6-7B59D773122E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34D15D-C9B1-B246-B751-88588DFB6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0C6D52-29D4-FA4B-8D78-319A9D5CE2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D94EF76E-2BC7-DE49-86AB-5D26C79762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43463" y="2216713"/>
            <a:ext cx="1626785" cy="338089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ABD8112D-3CAC-3549-B146-728C35FA034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3642463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" name="Double-click to edit subtitle">
            <a:extLst>
              <a:ext uri="{FF2B5EF4-FFF2-40B4-BE49-F238E27FC236}">
                <a16:creationId xmlns:a16="http://schemas.microsoft.com/office/drawing/2014/main" id="{CB23BF15-38B1-E146-86C6-A1843D64DCA7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647855" cy="442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29D4F305-1FC0-7A40-A065-24D55FAB34E2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359468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5C5B435-47C1-C641-9BA8-80604AB776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3463" y="2206268"/>
            <a:ext cx="1673288" cy="3391344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084439"/>
      </p:ext>
    </p:extLst>
  </p:cSld>
  <p:clrMapOvr>
    <a:masterClrMapping/>
  </p:clrMapOvr>
  <p:transition spd="med"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Page Phone + Desktop Demo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90BF168-FFB2-0443-A2E7-1EB8128E495F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E8B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41FC02A-E876-264A-A4C3-89BF5D8318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014229" y="715748"/>
            <a:ext cx="11433452" cy="5621553"/>
          </a:xfrm>
          <a:prstGeom prst="rect">
            <a:avLst/>
          </a:prstGeom>
        </p:spPr>
      </p:pic>
      <p:sp>
        <p:nvSpPr>
          <p:cNvPr id="354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C0ED6BA3-C975-DF47-9FD6-7B59D773122E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634D15D-C9B1-B246-B751-88588DFB68E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30C6D52-29D4-FA4B-8D78-319A9D5CE2E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20" name="Rounded Rectangle">
            <a:extLst>
              <a:ext uri="{FF2B5EF4-FFF2-40B4-BE49-F238E27FC236}">
                <a16:creationId xmlns:a16="http://schemas.microsoft.com/office/drawing/2014/main" id="{D94EF76E-2BC7-DE49-86AB-5D26C797623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343463" y="2216713"/>
            <a:ext cx="1626785" cy="338089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0" name="Title Text">
            <a:extLst>
              <a:ext uri="{FF2B5EF4-FFF2-40B4-BE49-F238E27FC236}">
                <a16:creationId xmlns:a16="http://schemas.microsoft.com/office/drawing/2014/main" id="{0FE84DF7-63F2-1D43-A40D-DC21E9EF254D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1096748"/>
            <a:ext cx="3642463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11" name="Double-click to edit subtitle">
            <a:extLst>
              <a:ext uri="{FF2B5EF4-FFF2-40B4-BE49-F238E27FC236}">
                <a16:creationId xmlns:a16="http://schemas.microsoft.com/office/drawing/2014/main" id="{BD9D3EBE-B980-EC46-9A7D-B734C168BEFA}"/>
              </a:ext>
            </a:extLst>
          </p:cNvPr>
          <p:cNvSpPr txBox="1">
            <a:spLocks noGrp="1"/>
          </p:cNvSpPr>
          <p:nvPr>
            <p:ph type="body" sz="quarter" idx="15"/>
          </p:nvPr>
        </p:nvSpPr>
        <p:spPr>
          <a:xfrm>
            <a:off x="1191427" y="748735"/>
            <a:ext cx="3647855" cy="4420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t>Double-click to edit subtitle</a:t>
            </a:r>
          </a:p>
        </p:txBody>
      </p:sp>
      <p:sp>
        <p:nvSpPr>
          <p:cNvPr id="16" name="Body Level One…">
            <a:extLst>
              <a:ext uri="{FF2B5EF4-FFF2-40B4-BE49-F238E27FC236}">
                <a16:creationId xmlns:a16="http://schemas.microsoft.com/office/drawing/2014/main" id="{42E48DB7-AD22-8142-9FCF-CE31CD3DCDA8}"/>
              </a:ext>
            </a:extLst>
          </p:cNvPr>
          <p:cNvSpPr txBox="1">
            <a:spLocks noGrp="1"/>
          </p:cNvSpPr>
          <p:nvPr>
            <p:ph type="body" sz="quarter" idx="1"/>
          </p:nvPr>
        </p:nvSpPr>
        <p:spPr>
          <a:xfrm>
            <a:off x="1244600" y="2339330"/>
            <a:ext cx="3594682" cy="3535597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1pPr>
            <a:lvl2pPr marL="18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2pPr>
            <a:lvl3pPr marL="36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3pPr>
            <a:lvl4pPr marL="54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4pPr>
            <a:lvl5pPr marL="720000" indent="0">
              <a:lnSpc>
                <a:spcPct val="150000"/>
              </a:lnSpc>
              <a:buClr>
                <a:srgbClr val="FFC556"/>
              </a:buClr>
              <a:buFont typeface="Arial" panose="020B0604020202020204" pitchFamily="34" charset="0"/>
              <a:buNone/>
              <a:defRPr sz="1400"/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72C392EE-0D0D-F74A-8F7E-A6BEF3D1FB5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343463" y="2206268"/>
            <a:ext cx="1673288" cy="3391344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983925"/>
      </p:ext>
    </p:extLst>
  </p:cSld>
  <p:clrMapOvr>
    <a:masterClrMapping/>
  </p:clrMapOvr>
  <p:transition spd="med"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ne Demo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D0F4DBA-3389-4D49-AE27-32EBCEA5948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7DAD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3466456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7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A207CFD4-0656-2247-BB06-8DD093FC22F9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C1F69C-3ABC-0047-AD16-9E84689296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83108B-425B-FA41-83FC-1DAAB07EFE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A19E0D3-1432-034D-942F-3E5870B4F2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37" y="799489"/>
            <a:ext cx="4944662" cy="5305859"/>
          </a:xfrm>
          <a:prstGeom prst="rect">
            <a:avLst/>
          </a:prstGeom>
        </p:spPr>
      </p:pic>
      <p:sp>
        <p:nvSpPr>
          <p:cNvPr id="15" name="Rounded Rectangle">
            <a:extLst>
              <a:ext uri="{FF2B5EF4-FFF2-40B4-BE49-F238E27FC236}">
                <a16:creationId xmlns:a16="http://schemas.microsoft.com/office/drawing/2014/main" id="{AB0274F3-F7A2-DE46-8565-79332622BE4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89610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672FB6C3-D446-AA48-B94D-5308519E23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66224" y="110977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4278898"/>
      </p:ext>
    </p:extLst>
  </p:cSld>
  <p:clrMapOvr>
    <a:masterClrMapping/>
  </p:clrMapOvr>
  <p:transition spd="med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ne Demo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D0F4DBA-3389-4D49-AE27-32EBCEA5948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AECB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3466456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7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A207CFD4-0656-2247-BB06-8DD093FC22F9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C1F69C-3ABC-0047-AD16-9E84689296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83108B-425B-FA41-83FC-1DAAB07EFE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1896F9C-5267-B241-A691-FC003E9BD92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37" y="799489"/>
            <a:ext cx="4944662" cy="5305859"/>
          </a:xfrm>
          <a:prstGeom prst="rect">
            <a:avLst/>
          </a:prstGeom>
        </p:spPr>
      </p:pic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73BF975F-28FA-FD48-B24D-1230C4E96C9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89610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364CCE1-133E-9049-B9DD-2DB77C624C6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66224" y="110977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256104"/>
      </p:ext>
    </p:extLst>
  </p:cSld>
  <p:clrMapOvr>
    <a:masterClrMapping/>
  </p:clrMapOvr>
  <p:transition spd="med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ne Demo Pur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D0F4DBA-3389-4D49-AE27-32EBCEA5948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FCE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3466456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7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A207CFD4-0656-2247-BB06-8DD093FC22F9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C1F69C-3ABC-0047-AD16-9E84689296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83108B-425B-FA41-83FC-1DAAB07EFE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3C73C99-EE2B-9941-89EA-ED009046D49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37" y="799489"/>
            <a:ext cx="4944662" cy="5305859"/>
          </a:xfrm>
          <a:prstGeom prst="rect">
            <a:avLst/>
          </a:prstGeom>
        </p:spPr>
      </p:pic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AFB92A08-D9F2-D94A-A4AA-7B09852B853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89610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34E8F5AD-FC43-7247-9F3A-E9B1AAFEBAF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66224" y="110977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9394737"/>
      </p:ext>
    </p:extLst>
  </p:cSld>
  <p:clrMapOvr>
    <a:masterClrMapping/>
  </p:clrMapOvr>
  <p:transition spd="med"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ne Demo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D0F4DBA-3389-4D49-AE27-32EBCEA5948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2F1F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3466456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7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A207CFD4-0656-2247-BB06-8DD093FC22F9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C1F69C-3ABC-0047-AD16-9E84689296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83108B-425B-FA41-83FC-1DAAB07EFE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94F92CF-3379-664A-A302-BF0D792E888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37" y="799489"/>
            <a:ext cx="4944662" cy="5489128"/>
          </a:xfrm>
          <a:prstGeom prst="rect">
            <a:avLst/>
          </a:prstGeom>
        </p:spPr>
      </p:pic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0FB85C7C-8010-BB46-96F6-15B5A1F76DC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89610" y="1121566"/>
            <a:ext cx="2274543" cy="4849329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71C44560-A1BA-9C49-91C6-601A9E34A9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89610" y="1121567"/>
            <a:ext cx="2327044" cy="4881592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623354"/>
      </p:ext>
    </p:extLst>
  </p:cSld>
  <p:clrMapOvr>
    <a:masterClrMapping/>
  </p:clrMapOvr>
  <p:transition spd="med"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ne Demo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5D0F4DBA-3389-4D49-AE27-32EBCEA59488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E8B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36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3466456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7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A207CFD4-0656-2247-BB06-8DD093FC22F9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DC1F69C-3ABC-0047-AD16-9E84689296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C83108B-425B-FA41-83FC-1DAAB07EFED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66C6FCA-30AE-034F-B270-694AB6C1D4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20537" y="799489"/>
            <a:ext cx="4944662" cy="5305859"/>
          </a:xfrm>
          <a:prstGeom prst="rect">
            <a:avLst/>
          </a:prstGeom>
        </p:spPr>
      </p:pic>
      <p:sp>
        <p:nvSpPr>
          <p:cNvPr id="17" name="Rounded Rectangle">
            <a:extLst>
              <a:ext uri="{FF2B5EF4-FFF2-40B4-BE49-F238E27FC236}">
                <a16:creationId xmlns:a16="http://schemas.microsoft.com/office/drawing/2014/main" id="{C10737E3-B167-CB4B-8F63-4E5B6FCDCAF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989610" y="1121567"/>
            <a:ext cx="2274543" cy="4692998"/>
          </a:xfrm>
          <a:prstGeom prst="roundRect">
            <a:avLst>
              <a:gd name="adj" fmla="val 12293"/>
            </a:avLst>
          </a:prstGeom>
          <a:solidFill>
            <a:srgbClr val="FFFFFF"/>
          </a:solidFill>
        </p:spPr>
        <p:txBody>
          <a:bodyPr lIns="0" tIns="0" rIns="0" bIns="0" anchor="ctr"/>
          <a:lstStyle>
            <a:lvl1pPr algn="ctr" defTabSz="41275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lvl1pPr>
          </a:lstStyle>
          <a:p>
            <a:pPr algn="ctr" defTabSz="825500">
              <a:lnSpc>
                <a:spcPct val="100000"/>
              </a:lnSpc>
              <a:defRPr sz="320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EBC3DE87-FEAB-6E40-92A1-57835D56C2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966224" y="1109776"/>
            <a:ext cx="2327044" cy="4716579"/>
          </a:xfrm>
          <a:custGeom>
            <a:avLst/>
            <a:gdLst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777721 w 4666235"/>
              <a:gd name="connsiteY6" fmla="*/ 94204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20457"/>
              <a:gd name="connsiteX1" fmla="*/ 777721 w 4666235"/>
              <a:gd name="connsiteY1" fmla="*/ 0 h 9420457"/>
              <a:gd name="connsiteX2" fmla="*/ 3888514 w 4666235"/>
              <a:gd name="connsiteY2" fmla="*/ 0 h 9420457"/>
              <a:gd name="connsiteX3" fmla="*/ 4666235 w 4666235"/>
              <a:gd name="connsiteY3" fmla="*/ 777721 h 9420457"/>
              <a:gd name="connsiteX4" fmla="*/ 4666235 w 4666235"/>
              <a:gd name="connsiteY4" fmla="*/ 8642736 h 9420457"/>
              <a:gd name="connsiteX5" fmla="*/ 3888514 w 4666235"/>
              <a:gd name="connsiteY5" fmla="*/ 9420457 h 9420457"/>
              <a:gd name="connsiteX6" fmla="*/ 587221 w 4666235"/>
              <a:gd name="connsiteY6" fmla="*/ 9395057 h 9420457"/>
              <a:gd name="connsiteX7" fmla="*/ 0 w 4666235"/>
              <a:gd name="connsiteY7" fmla="*/ 8642736 h 9420457"/>
              <a:gd name="connsiteX8" fmla="*/ 0 w 4666235"/>
              <a:gd name="connsiteY8" fmla="*/ 777721 h 9420457"/>
              <a:gd name="connsiteX0" fmla="*/ 0 w 4666235"/>
              <a:gd name="connsiteY0" fmla="*/ 777721 h 9407757"/>
              <a:gd name="connsiteX1" fmla="*/ 777721 w 4666235"/>
              <a:gd name="connsiteY1" fmla="*/ 0 h 9407757"/>
              <a:gd name="connsiteX2" fmla="*/ 3888514 w 4666235"/>
              <a:gd name="connsiteY2" fmla="*/ 0 h 9407757"/>
              <a:gd name="connsiteX3" fmla="*/ 4666235 w 4666235"/>
              <a:gd name="connsiteY3" fmla="*/ 777721 h 9407757"/>
              <a:gd name="connsiteX4" fmla="*/ 4666235 w 4666235"/>
              <a:gd name="connsiteY4" fmla="*/ 8642736 h 9407757"/>
              <a:gd name="connsiteX5" fmla="*/ 4015514 w 4666235"/>
              <a:gd name="connsiteY5" fmla="*/ 9407757 h 9407757"/>
              <a:gd name="connsiteX6" fmla="*/ 587221 w 4666235"/>
              <a:gd name="connsiteY6" fmla="*/ 9395057 h 9407757"/>
              <a:gd name="connsiteX7" fmla="*/ 0 w 4666235"/>
              <a:gd name="connsiteY7" fmla="*/ 8642736 h 9407757"/>
              <a:gd name="connsiteX8" fmla="*/ 0 w 4666235"/>
              <a:gd name="connsiteY8" fmla="*/ 777721 h 94077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66235 w 4666235"/>
              <a:gd name="connsiteY3" fmla="*/ 803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0 w 4666235"/>
              <a:gd name="connsiteY0" fmla="*/ 8031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0 w 4666235"/>
              <a:gd name="connsiteY8" fmla="*/ 803121 h 9433157"/>
              <a:gd name="connsiteX0" fmla="*/ 12700 w 4666235"/>
              <a:gd name="connsiteY0" fmla="*/ 638021 h 9433157"/>
              <a:gd name="connsiteX1" fmla="*/ 777721 w 4666235"/>
              <a:gd name="connsiteY1" fmla="*/ 254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12700 w 4666235"/>
              <a:gd name="connsiteY0" fmla="*/ 638021 h 9433157"/>
              <a:gd name="connsiteX1" fmla="*/ 663421 w 4666235"/>
              <a:gd name="connsiteY1" fmla="*/ 12700 h 9433157"/>
              <a:gd name="connsiteX2" fmla="*/ 4002814 w 4666235"/>
              <a:gd name="connsiteY2" fmla="*/ 0 h 9433157"/>
              <a:gd name="connsiteX3" fmla="*/ 4615435 w 4666235"/>
              <a:gd name="connsiteY3" fmla="*/ 676121 h 9433157"/>
              <a:gd name="connsiteX4" fmla="*/ 4666235 w 4666235"/>
              <a:gd name="connsiteY4" fmla="*/ 8668136 h 9433157"/>
              <a:gd name="connsiteX5" fmla="*/ 4015514 w 4666235"/>
              <a:gd name="connsiteY5" fmla="*/ 9433157 h 9433157"/>
              <a:gd name="connsiteX6" fmla="*/ 587221 w 4666235"/>
              <a:gd name="connsiteY6" fmla="*/ 9420457 h 9433157"/>
              <a:gd name="connsiteX7" fmla="*/ 0 w 4666235"/>
              <a:gd name="connsiteY7" fmla="*/ 8668136 h 9433157"/>
              <a:gd name="connsiteX8" fmla="*/ 12700 w 46662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25400 w 4678935"/>
              <a:gd name="connsiteY0" fmla="*/ 638021 h 9433157"/>
              <a:gd name="connsiteX1" fmla="*/ 676121 w 4678935"/>
              <a:gd name="connsiteY1" fmla="*/ 12700 h 9433157"/>
              <a:gd name="connsiteX2" fmla="*/ 4015514 w 4678935"/>
              <a:gd name="connsiteY2" fmla="*/ 0 h 9433157"/>
              <a:gd name="connsiteX3" fmla="*/ 4628135 w 4678935"/>
              <a:gd name="connsiteY3" fmla="*/ 676121 h 9433157"/>
              <a:gd name="connsiteX4" fmla="*/ 4678935 w 4678935"/>
              <a:gd name="connsiteY4" fmla="*/ 8668136 h 9433157"/>
              <a:gd name="connsiteX5" fmla="*/ 4028214 w 4678935"/>
              <a:gd name="connsiteY5" fmla="*/ 9433157 h 9433157"/>
              <a:gd name="connsiteX6" fmla="*/ 599921 w 4678935"/>
              <a:gd name="connsiteY6" fmla="*/ 9420457 h 9433157"/>
              <a:gd name="connsiteX7" fmla="*/ 0 w 4678935"/>
              <a:gd name="connsiteY7" fmla="*/ 8680836 h 9433157"/>
              <a:gd name="connsiteX8" fmla="*/ 25400 w 4678935"/>
              <a:gd name="connsiteY8" fmla="*/ 638021 h 9433157"/>
              <a:gd name="connsiteX0" fmla="*/ 155 w 4653690"/>
              <a:gd name="connsiteY0" fmla="*/ 638021 h 9433157"/>
              <a:gd name="connsiteX1" fmla="*/ 650876 w 4653690"/>
              <a:gd name="connsiteY1" fmla="*/ 12700 h 9433157"/>
              <a:gd name="connsiteX2" fmla="*/ 3990269 w 4653690"/>
              <a:gd name="connsiteY2" fmla="*/ 0 h 9433157"/>
              <a:gd name="connsiteX3" fmla="*/ 4602890 w 4653690"/>
              <a:gd name="connsiteY3" fmla="*/ 676121 h 9433157"/>
              <a:gd name="connsiteX4" fmla="*/ 4653690 w 4653690"/>
              <a:gd name="connsiteY4" fmla="*/ 8668136 h 9433157"/>
              <a:gd name="connsiteX5" fmla="*/ 4002969 w 4653690"/>
              <a:gd name="connsiteY5" fmla="*/ 9433157 h 9433157"/>
              <a:gd name="connsiteX6" fmla="*/ 574676 w 4653690"/>
              <a:gd name="connsiteY6" fmla="*/ 9420457 h 9433157"/>
              <a:gd name="connsiteX7" fmla="*/ 38255 w 4653690"/>
              <a:gd name="connsiteY7" fmla="*/ 8820536 h 9433157"/>
              <a:gd name="connsiteX8" fmla="*/ 155 w 4653690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74885 w 4653899"/>
              <a:gd name="connsiteY6" fmla="*/ 94204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364 w 4653899"/>
              <a:gd name="connsiteY0" fmla="*/ 638021 h 9433157"/>
              <a:gd name="connsiteX1" fmla="*/ 651085 w 4653899"/>
              <a:gd name="connsiteY1" fmla="*/ 12700 h 9433157"/>
              <a:gd name="connsiteX2" fmla="*/ 3990478 w 4653899"/>
              <a:gd name="connsiteY2" fmla="*/ 0 h 9433157"/>
              <a:gd name="connsiteX3" fmla="*/ 4603099 w 4653899"/>
              <a:gd name="connsiteY3" fmla="*/ 676121 h 9433157"/>
              <a:gd name="connsiteX4" fmla="*/ 4653899 w 4653899"/>
              <a:gd name="connsiteY4" fmla="*/ 8668136 h 9433157"/>
              <a:gd name="connsiteX5" fmla="*/ 4003178 w 4653899"/>
              <a:gd name="connsiteY5" fmla="*/ 9433157 h 9433157"/>
              <a:gd name="connsiteX6" fmla="*/ 549485 w 4653899"/>
              <a:gd name="connsiteY6" fmla="*/ 9395057 h 9433157"/>
              <a:gd name="connsiteX7" fmla="*/ 38464 w 4653899"/>
              <a:gd name="connsiteY7" fmla="*/ 8820536 h 9433157"/>
              <a:gd name="connsiteX8" fmla="*/ 364 w 4653899"/>
              <a:gd name="connsiteY8" fmla="*/ 638021 h 9433157"/>
              <a:gd name="connsiteX0" fmla="*/ 553 w 4654088"/>
              <a:gd name="connsiteY0" fmla="*/ 638021 h 9433157"/>
              <a:gd name="connsiteX1" fmla="*/ 651274 w 4654088"/>
              <a:gd name="connsiteY1" fmla="*/ 12700 h 9433157"/>
              <a:gd name="connsiteX2" fmla="*/ 3990667 w 4654088"/>
              <a:gd name="connsiteY2" fmla="*/ 0 h 9433157"/>
              <a:gd name="connsiteX3" fmla="*/ 4603288 w 4654088"/>
              <a:gd name="connsiteY3" fmla="*/ 676121 h 9433157"/>
              <a:gd name="connsiteX4" fmla="*/ 4654088 w 4654088"/>
              <a:gd name="connsiteY4" fmla="*/ 8668136 h 9433157"/>
              <a:gd name="connsiteX5" fmla="*/ 4003367 w 4654088"/>
              <a:gd name="connsiteY5" fmla="*/ 9433157 h 9433157"/>
              <a:gd name="connsiteX6" fmla="*/ 549674 w 4654088"/>
              <a:gd name="connsiteY6" fmla="*/ 9395057 h 9433157"/>
              <a:gd name="connsiteX7" fmla="*/ 25953 w 4654088"/>
              <a:gd name="connsiteY7" fmla="*/ 8655436 h 9433157"/>
              <a:gd name="connsiteX8" fmla="*/ 553 w 4654088"/>
              <a:gd name="connsiteY8" fmla="*/ 638021 h 94331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654088" h="9433157">
                <a:moveTo>
                  <a:pt x="553" y="638021"/>
                </a:moveTo>
                <a:cubicBezTo>
                  <a:pt x="553" y="208498"/>
                  <a:pt x="221751" y="12700"/>
                  <a:pt x="651274" y="12700"/>
                </a:cubicBezTo>
                <a:lnTo>
                  <a:pt x="3990667" y="0"/>
                </a:lnTo>
                <a:cubicBezTo>
                  <a:pt x="4420190" y="0"/>
                  <a:pt x="4603288" y="246598"/>
                  <a:pt x="4603288" y="676121"/>
                </a:cubicBezTo>
                <a:lnTo>
                  <a:pt x="4654088" y="8668136"/>
                </a:lnTo>
                <a:cubicBezTo>
                  <a:pt x="4654088" y="9097659"/>
                  <a:pt x="4432890" y="9433157"/>
                  <a:pt x="4003367" y="9433157"/>
                </a:cubicBezTo>
                <a:lnTo>
                  <a:pt x="549674" y="9395057"/>
                </a:lnTo>
                <a:cubicBezTo>
                  <a:pt x="120151" y="9395057"/>
                  <a:pt x="25953" y="9084959"/>
                  <a:pt x="25953" y="8655436"/>
                </a:cubicBezTo>
                <a:cubicBezTo>
                  <a:pt x="17486" y="6054931"/>
                  <a:pt x="-3680" y="3314726"/>
                  <a:pt x="553" y="638021"/>
                </a:cubicBezTo>
                <a:close/>
              </a:path>
            </a:pathLst>
          </a:cu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1008677"/>
      </p:ext>
    </p:extLst>
  </p:cSld>
  <p:clrMapOvr>
    <a:masterClrMapping/>
  </p:clrMapOvr>
  <p:transition spd="med"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Desktop Demo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B3286C-34BA-AE42-8B34-4EFFDC203A3D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7DAD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9A407FA-A38A-F74E-B7A9-C06165FA3E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10" y="301009"/>
            <a:ext cx="11333356" cy="6375013"/>
          </a:xfrm>
          <a:prstGeom prst="rect">
            <a:avLst/>
          </a:prstGeom>
        </p:spPr>
      </p:pic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193382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5330F911-F6CB-BB4D-8EF7-AE7EECA98D0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2A9EA7-A483-E840-A189-6C4CFC2DAF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7E071-DC9B-9B4F-854F-C4976BA7FC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8349CB4-F8B6-8F4E-9B11-77BF84C87D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84500" y="1638300"/>
            <a:ext cx="62230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006432"/>
      </p:ext>
    </p:extLst>
  </p:cSld>
  <p:clrMapOvr>
    <a:masterClrMapping/>
  </p:clrMapOvr>
  <p:transition spd="med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3356308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Page Desktop Demo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B3286C-34BA-AE42-8B34-4EFFDC203A3D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AECB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8489809-4946-D94E-BD4A-DDE860BC267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10" y="301009"/>
            <a:ext cx="11333356" cy="6375013"/>
          </a:xfrm>
          <a:prstGeom prst="rect">
            <a:avLst/>
          </a:prstGeom>
        </p:spPr>
      </p:pic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193382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5330F911-F6CB-BB4D-8EF7-AE7EECA98D0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2A9EA7-A483-E840-A189-6C4CFC2DAF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7E071-DC9B-9B4F-854F-C4976BA7FC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3DDECDE5-F659-E04D-93E0-DEC2B42C4D3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84500" y="1638300"/>
            <a:ext cx="62230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0872845"/>
      </p:ext>
    </p:extLst>
  </p:cSld>
  <p:clrMapOvr>
    <a:masterClrMapping/>
  </p:clrMapOvr>
  <p:transition spd="med"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Desktop Demo Pur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B3286C-34BA-AE42-8B34-4EFFDC203A3D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FCE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20E6458-0FC2-2E4E-A2BD-63EF76899B4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10" y="301009"/>
            <a:ext cx="11333356" cy="6375013"/>
          </a:xfrm>
          <a:prstGeom prst="rect">
            <a:avLst/>
          </a:prstGeom>
        </p:spPr>
      </p:pic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193382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5330F911-F6CB-BB4D-8EF7-AE7EECA98D0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2A9EA7-A483-E840-A189-6C4CFC2DAF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7E071-DC9B-9B4F-854F-C4976BA7FC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92E77AB-B937-2043-B4D8-7D2EC2DBD6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84500" y="1638300"/>
            <a:ext cx="62230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4223086"/>
      </p:ext>
    </p:extLst>
  </p:cSld>
  <p:clrMapOvr>
    <a:masterClrMapping/>
  </p:clrMapOvr>
  <p:transition spd="med"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Desktop Demo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B3286C-34BA-AE42-8B34-4EFFDC203A3D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2F1F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9C35EFF-3F4F-534D-B7A3-384303C408E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10" y="301009"/>
            <a:ext cx="11333356" cy="6375013"/>
          </a:xfrm>
          <a:prstGeom prst="rect">
            <a:avLst/>
          </a:prstGeom>
        </p:spPr>
      </p:pic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193382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5330F911-F6CB-BB4D-8EF7-AE7EECA98D0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2A9EA7-A483-E840-A189-6C4CFC2DAF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7E071-DC9B-9B4F-854F-C4976BA7FC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25AB7297-8530-E641-8294-125D6B25D7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84500" y="1638300"/>
            <a:ext cx="62230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7571384"/>
      </p:ext>
    </p:extLst>
  </p:cSld>
  <p:clrMapOvr>
    <a:masterClrMapping/>
  </p:clrMapOvr>
  <p:transition spd="med"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Desktop Demo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9B3286C-34BA-AE42-8B34-4EFFDC203A3D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E8B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DF59776-7B30-E443-A8CD-C6990AEAEF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10" y="301009"/>
            <a:ext cx="11333356" cy="6375013"/>
          </a:xfrm>
          <a:prstGeom prst="rect">
            <a:avLst/>
          </a:prstGeom>
        </p:spPr>
      </p:pic>
      <p:sp>
        <p:nvSpPr>
          <p:cNvPr id="384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193382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8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5330F911-F6CB-BB4D-8EF7-AE7EECA98D0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42A9EA7-A483-E840-A189-6C4CFC2DAFF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E87E071-DC9B-9B4F-854F-C4976BA7FCD9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39B4620-DF90-A042-AD28-6EFB8966ED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984500" y="1638300"/>
            <a:ext cx="62230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3257592"/>
      </p:ext>
    </p:extLst>
  </p:cSld>
  <p:clrMapOvr>
    <a:masterClrMapping/>
  </p:clrMapOvr>
  <p:transition spd="med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ablet Demo Pink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4310AC-53F8-864D-A9B0-C302C25DAAB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7DADF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AA3A617-F52D-8640-B060-68BD933E33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10" y="583647"/>
            <a:ext cx="10942602" cy="6155214"/>
          </a:xfrm>
          <a:prstGeom prst="rect">
            <a:avLst/>
          </a:prstGeom>
        </p:spPr>
      </p:pic>
      <p:sp>
        <p:nvSpPr>
          <p:cNvPr id="3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274195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85ECC00-7E8F-9C43-99DE-35AFC09970F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B0BD27-5263-4F46-B57D-721FCF83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A8D4CF-3E47-5E4D-A7FC-3480D16B20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FF939886-0674-2842-BB73-2ED306987B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1796896"/>
            <a:ext cx="57658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9040247"/>
      </p:ext>
    </p:extLst>
  </p:cSld>
  <p:clrMapOvr>
    <a:masterClrMapping/>
  </p:clrMapOvr>
  <p:transition spd="med"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ablet Demo Green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4310AC-53F8-864D-A9B0-C302C25DAAB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AECB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73C84B-5AD6-FF4A-87D4-0F5815C79F3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10" y="583647"/>
            <a:ext cx="10942602" cy="6155214"/>
          </a:xfrm>
          <a:prstGeom prst="rect">
            <a:avLst/>
          </a:prstGeom>
        </p:spPr>
      </p:pic>
      <p:sp>
        <p:nvSpPr>
          <p:cNvPr id="3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274195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85ECC00-7E8F-9C43-99DE-35AFC09970F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B0BD27-5263-4F46-B57D-721FCF83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A8D4CF-3E47-5E4D-A7FC-3480D16B20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99181219-3BCB-3047-A214-24E1CD71116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1796896"/>
            <a:ext cx="57658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1316426"/>
      </p:ext>
    </p:extLst>
  </p:cSld>
  <p:clrMapOvr>
    <a:masterClrMapping/>
  </p:clrMapOvr>
  <p:transition spd="med"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ablet Demo Purp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4310AC-53F8-864D-A9B0-C302C25DAAB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DFCEE8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E67DB11-E9F0-8940-85D9-43B38E56A4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10" y="583647"/>
            <a:ext cx="10942602" cy="6155214"/>
          </a:xfrm>
          <a:prstGeom prst="rect">
            <a:avLst/>
          </a:prstGeom>
        </p:spPr>
      </p:pic>
      <p:sp>
        <p:nvSpPr>
          <p:cNvPr id="3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274195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85ECC00-7E8F-9C43-99DE-35AFC09970F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B0BD27-5263-4F46-B57D-721FCF83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A8D4CF-3E47-5E4D-A7FC-3480D16B20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DD62F166-6E71-F844-BD14-C6ACBBBB948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1796896"/>
            <a:ext cx="57658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0912702"/>
      </p:ext>
    </p:extLst>
  </p:cSld>
  <p:clrMapOvr>
    <a:masterClrMapping/>
  </p:clrMapOvr>
  <p:transition spd="med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ablet Demo Blu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4310AC-53F8-864D-A9B0-C302C25DAAB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E2F1F4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7B1B3BD4-DE78-BD4D-B1F8-65145252456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10" y="583647"/>
            <a:ext cx="10942602" cy="6155214"/>
          </a:xfrm>
          <a:prstGeom prst="rect">
            <a:avLst/>
          </a:prstGeom>
        </p:spPr>
      </p:pic>
      <p:sp>
        <p:nvSpPr>
          <p:cNvPr id="3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274195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85ECC00-7E8F-9C43-99DE-35AFC09970F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B0BD27-5263-4F46-B57D-721FCF83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A8D4CF-3E47-5E4D-A7FC-3480D16B20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5D3DF0C6-265F-5848-B7E5-016502EC16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1796896"/>
            <a:ext cx="57658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031211"/>
      </p:ext>
    </p:extLst>
  </p:cSld>
  <p:clrMapOvr>
    <a:masterClrMapping/>
  </p:clrMapOvr>
  <p:transition spd="med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Tablet Demo Yellow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54310AC-53F8-864D-A9B0-C302C25DAABB}"/>
              </a:ext>
            </a:extLst>
          </p:cNvPr>
          <p:cNvSpPr/>
          <p:nvPr userDrawn="1"/>
        </p:nvSpPr>
        <p:spPr>
          <a:xfrm>
            <a:off x="6094962" y="3305890"/>
            <a:ext cx="6097038" cy="246221"/>
          </a:xfrm>
          <a:prstGeom prst="rect">
            <a:avLst/>
          </a:prstGeom>
          <a:solidFill>
            <a:srgbClr val="FFE8BC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41275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C9E616F-C6DA-774D-A71E-B87713BBBC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510" y="583647"/>
            <a:ext cx="10942602" cy="6155214"/>
          </a:xfrm>
          <a:prstGeom prst="rect">
            <a:avLst/>
          </a:prstGeom>
        </p:spPr>
      </p:pic>
      <p:sp>
        <p:nvSpPr>
          <p:cNvPr id="398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4274195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414B53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399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10" name="Rectangle">
            <a:extLst>
              <a:ext uri="{FF2B5EF4-FFF2-40B4-BE49-F238E27FC236}">
                <a16:creationId xmlns:a16="http://schemas.microsoft.com/office/drawing/2014/main" id="{985ECC00-7E8F-9C43-99DE-35AFC09970F7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CB0BD27-5263-4F46-B57D-721FCF83DF8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6A8D4CF-3E47-5E4D-A7FC-3480D16B203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C5D7BED0-9530-1045-B63F-E3B4FF0A3A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048000" y="1796896"/>
            <a:ext cx="5765800" cy="41148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475917"/>
      </p:ext>
    </p:extLst>
  </p:cSld>
  <p:clrMapOvr>
    <a:masterClrMapping/>
  </p:clrMapOvr>
  <p:transition spd="med"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meline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pic>
        <p:nvPicPr>
          <p:cNvPr id="676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6351" y="6406976"/>
            <a:ext cx="455099" cy="144282"/>
          </a:xfrm>
          <a:prstGeom prst="rect">
            <a:avLst/>
          </a:prstGeom>
          <a:ln w="12700">
            <a:miter lim="400000"/>
          </a:ln>
        </p:spPr>
      </p:pic>
      <p:pic>
        <p:nvPicPr>
          <p:cNvPr id="677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5354" y="403381"/>
            <a:ext cx="455099" cy="236680"/>
          </a:xfrm>
          <a:prstGeom prst="rect">
            <a:avLst/>
          </a:prstGeom>
          <a:ln w="12700">
            <a:miter lim="400000"/>
          </a:ln>
        </p:spPr>
      </p:pic>
      <p:sp>
        <p:nvSpPr>
          <p:cNvPr id="678" name="Rectangle"/>
          <p:cNvSpPr/>
          <p:nvPr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679" name="Title Text"/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5634881" cy="691528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681" name="Title"/>
          <p:cNvSpPr txBox="1">
            <a:spLocks noGrp="1"/>
          </p:cNvSpPr>
          <p:nvPr>
            <p:ph type="body" sz="quarter" idx="14"/>
          </p:nvPr>
        </p:nvSpPr>
        <p:spPr>
          <a:xfrm>
            <a:off x="1052856" y="3248119"/>
            <a:ext cx="951709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FFC556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2" name="Title"/>
          <p:cNvSpPr txBox="1">
            <a:spLocks noGrp="1"/>
          </p:cNvSpPr>
          <p:nvPr>
            <p:ph type="body" sz="quarter" idx="15"/>
          </p:nvPr>
        </p:nvSpPr>
        <p:spPr>
          <a:xfrm>
            <a:off x="2406513" y="3248119"/>
            <a:ext cx="951708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FFC556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3" name="Title"/>
          <p:cNvSpPr txBox="1">
            <a:spLocks noGrp="1"/>
          </p:cNvSpPr>
          <p:nvPr>
            <p:ph type="body" sz="quarter" idx="16"/>
          </p:nvPr>
        </p:nvSpPr>
        <p:spPr>
          <a:xfrm>
            <a:off x="3760169" y="3248119"/>
            <a:ext cx="951709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F2A262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4" name="Title"/>
          <p:cNvSpPr txBox="1">
            <a:spLocks noGrp="1"/>
          </p:cNvSpPr>
          <p:nvPr>
            <p:ph type="body" sz="quarter" idx="17"/>
          </p:nvPr>
        </p:nvSpPr>
        <p:spPr>
          <a:xfrm>
            <a:off x="5113825" y="3248119"/>
            <a:ext cx="951708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E66F5F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5" name="Title"/>
          <p:cNvSpPr txBox="1">
            <a:spLocks noGrp="1"/>
          </p:cNvSpPr>
          <p:nvPr>
            <p:ph type="body" sz="quarter" idx="18"/>
          </p:nvPr>
        </p:nvSpPr>
        <p:spPr>
          <a:xfrm>
            <a:off x="6530981" y="3248119"/>
            <a:ext cx="951708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DF3C52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6" name="Title"/>
          <p:cNvSpPr txBox="1">
            <a:spLocks noGrp="1"/>
          </p:cNvSpPr>
          <p:nvPr>
            <p:ph type="body" sz="quarter" idx="19"/>
          </p:nvPr>
        </p:nvSpPr>
        <p:spPr>
          <a:xfrm>
            <a:off x="7878287" y="3248119"/>
            <a:ext cx="951709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B5456B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7" name="Title"/>
          <p:cNvSpPr txBox="1">
            <a:spLocks noGrp="1"/>
          </p:cNvSpPr>
          <p:nvPr>
            <p:ph type="body" sz="quarter" idx="20"/>
          </p:nvPr>
        </p:nvSpPr>
        <p:spPr>
          <a:xfrm>
            <a:off x="9174794" y="3248119"/>
            <a:ext cx="951708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984276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8" name="Title"/>
          <p:cNvSpPr txBox="1">
            <a:spLocks noGrp="1"/>
          </p:cNvSpPr>
          <p:nvPr>
            <p:ph type="body" sz="quarter" idx="21"/>
          </p:nvPr>
        </p:nvSpPr>
        <p:spPr>
          <a:xfrm>
            <a:off x="10528450" y="3248119"/>
            <a:ext cx="951709" cy="335861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10000"/>
              </a:lnSpc>
              <a:defRPr sz="1500" b="1">
                <a:solidFill>
                  <a:srgbClr val="5C078B"/>
                </a:solidFill>
              </a:defRPr>
            </a:lvl1pPr>
          </a:lstStyle>
          <a:p>
            <a:r>
              <a:t>Title</a:t>
            </a:r>
          </a:p>
        </p:txBody>
      </p:sp>
      <p:sp>
        <p:nvSpPr>
          <p:cNvPr id="689" name="Click to edit text"/>
          <p:cNvSpPr txBox="1">
            <a:spLocks noGrp="1"/>
          </p:cNvSpPr>
          <p:nvPr>
            <p:ph type="body" sz="quarter" idx="22"/>
          </p:nvPr>
        </p:nvSpPr>
        <p:spPr>
          <a:xfrm>
            <a:off x="1007214" y="3854512"/>
            <a:ext cx="1042993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0" name="Click to edit text"/>
          <p:cNvSpPr txBox="1">
            <a:spLocks noGrp="1"/>
          </p:cNvSpPr>
          <p:nvPr>
            <p:ph type="body" sz="quarter" idx="23"/>
          </p:nvPr>
        </p:nvSpPr>
        <p:spPr>
          <a:xfrm>
            <a:off x="2446126" y="3854512"/>
            <a:ext cx="900293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1" name="Click to edit text"/>
          <p:cNvSpPr txBox="1">
            <a:spLocks noGrp="1"/>
          </p:cNvSpPr>
          <p:nvPr>
            <p:ph type="body" sz="quarter" idx="24"/>
          </p:nvPr>
        </p:nvSpPr>
        <p:spPr>
          <a:xfrm>
            <a:off x="3787981" y="3854512"/>
            <a:ext cx="1042993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2" name="Click to edit text"/>
          <p:cNvSpPr txBox="1">
            <a:spLocks noGrp="1"/>
          </p:cNvSpPr>
          <p:nvPr>
            <p:ph type="body" sz="quarter" idx="25"/>
          </p:nvPr>
        </p:nvSpPr>
        <p:spPr>
          <a:xfrm>
            <a:off x="10543844" y="3854512"/>
            <a:ext cx="1115604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3" name="Click to edit text"/>
          <p:cNvSpPr txBox="1">
            <a:spLocks noGrp="1"/>
          </p:cNvSpPr>
          <p:nvPr>
            <p:ph type="body" sz="quarter" idx="26"/>
          </p:nvPr>
        </p:nvSpPr>
        <p:spPr>
          <a:xfrm>
            <a:off x="5126631" y="3854512"/>
            <a:ext cx="1115604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4" name="Click to edit text"/>
          <p:cNvSpPr txBox="1">
            <a:spLocks noGrp="1"/>
          </p:cNvSpPr>
          <p:nvPr>
            <p:ph type="body" sz="quarter" idx="27"/>
          </p:nvPr>
        </p:nvSpPr>
        <p:spPr>
          <a:xfrm>
            <a:off x="6532294" y="3854512"/>
            <a:ext cx="1115604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5" name="Click to edit text"/>
          <p:cNvSpPr txBox="1">
            <a:spLocks noGrp="1"/>
          </p:cNvSpPr>
          <p:nvPr>
            <p:ph type="body" sz="quarter" idx="28"/>
          </p:nvPr>
        </p:nvSpPr>
        <p:spPr>
          <a:xfrm>
            <a:off x="7899856" y="3854512"/>
            <a:ext cx="933332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sp>
        <p:nvSpPr>
          <p:cNvPr id="696" name="Click to edit text"/>
          <p:cNvSpPr txBox="1">
            <a:spLocks noGrp="1"/>
          </p:cNvSpPr>
          <p:nvPr>
            <p:ph type="body" sz="quarter" idx="29"/>
          </p:nvPr>
        </p:nvSpPr>
        <p:spPr>
          <a:xfrm>
            <a:off x="9151682" y="3854512"/>
            <a:ext cx="1042993" cy="1700787"/>
          </a:xfrm>
          <a:prstGeom prst="rect">
            <a:avLst/>
          </a:prstGeom>
        </p:spPr>
        <p:txBody>
          <a:bodyPr>
            <a:spAutoFit/>
          </a:bodyPr>
          <a:lstStyle/>
          <a:p>
            <a:pPr lvl="1">
              <a:lnSpc>
                <a:spcPct val="110000"/>
              </a:lnSpc>
              <a:defRPr sz="2400"/>
            </a:pPr>
            <a:r>
              <a:t>Click to edit text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17AD44B-204B-EB48-A4BA-74CCCEDE2FB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14425" y="2895601"/>
            <a:ext cx="9963150" cy="15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139941"/>
      </p:ext>
    </p:extLst>
  </p:cSld>
  <p:clrMapOvr>
    <a:masterClrMapping/>
  </p:clrMapOvr>
  <p:transition spd="med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393596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Quote Green 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5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709" name="“Insert quote in here”"/>
          <p:cNvSpPr txBox="1">
            <a:spLocks noGrp="1"/>
          </p:cNvSpPr>
          <p:nvPr>
            <p:ph type="body" sz="quarter" idx="15"/>
          </p:nvPr>
        </p:nvSpPr>
        <p:spPr>
          <a:xfrm>
            <a:off x="5812739" y="1712256"/>
            <a:ext cx="5347924" cy="61363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50000"/>
              </a:lnSpc>
              <a:defRPr sz="2500"/>
            </a:lvl1pPr>
          </a:lstStyle>
          <a:p>
            <a:r>
              <a:t>“Insert quote in here”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016E8E2-A6F0-EA4D-A809-4E19038BA32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B764DA-FEC4-AB48-ABF9-1239EE53974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C3BCCCEF-395F-C845-A686-8F3261EE75E3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22850" y="715748"/>
            <a:ext cx="4540644" cy="5375824"/>
          </a:xfrm>
          <a:custGeom>
            <a:avLst/>
            <a:gdLst>
              <a:gd name="connsiteX0" fmla="*/ 2449557 w 4899114"/>
              <a:gd name="connsiteY0" fmla="*/ 0 h 5800229"/>
              <a:gd name="connsiteX1" fmla="*/ 4899114 w 4899114"/>
              <a:gd name="connsiteY1" fmla="*/ 2449558 h 5800229"/>
              <a:gd name="connsiteX2" fmla="*/ 3398485 w 4899114"/>
              <a:gd name="connsiteY2" fmla="*/ 4707859 h 5800229"/>
              <a:gd name="connsiteX3" fmla="*/ 1511664 w 4899114"/>
              <a:gd name="connsiteY3" fmla="*/ 5800229 h 5800229"/>
              <a:gd name="connsiteX4" fmla="*/ 1515342 w 4899114"/>
              <a:gd name="connsiteY4" fmla="*/ 4715215 h 5800229"/>
              <a:gd name="connsiteX5" fmla="*/ 0 w 4899114"/>
              <a:gd name="connsiteY5" fmla="*/ 2449558 h 5800229"/>
              <a:gd name="connsiteX6" fmla="*/ 2449557 w 4899114"/>
              <a:gd name="connsiteY6" fmla="*/ 0 h 580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99114" h="5800229">
                <a:moveTo>
                  <a:pt x="2449557" y="0"/>
                </a:moveTo>
                <a:cubicBezTo>
                  <a:pt x="3803066" y="0"/>
                  <a:pt x="4899114" y="1096048"/>
                  <a:pt x="4899114" y="2449558"/>
                </a:cubicBezTo>
                <a:cubicBezTo>
                  <a:pt x="4899114" y="3464690"/>
                  <a:pt x="4281208" y="4336380"/>
                  <a:pt x="3398485" y="4707859"/>
                </a:cubicBezTo>
                <a:lnTo>
                  <a:pt x="1511664" y="5800229"/>
                </a:lnTo>
                <a:lnTo>
                  <a:pt x="1515342" y="4715215"/>
                </a:lnTo>
                <a:cubicBezTo>
                  <a:pt x="625262" y="4347414"/>
                  <a:pt x="0" y="3472046"/>
                  <a:pt x="0" y="2449558"/>
                </a:cubicBezTo>
                <a:cubicBezTo>
                  <a:pt x="0" y="1096048"/>
                  <a:pt x="1096048" y="0"/>
                  <a:pt x="244955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92000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2" name="Rectangle">
            <a:extLst>
              <a:ext uri="{FF2B5EF4-FFF2-40B4-BE49-F238E27FC236}">
                <a16:creationId xmlns:a16="http://schemas.microsoft.com/office/drawing/2014/main" id="{964098F9-A69C-9148-A638-4056E15D1B86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2764686900"/>
      </p:ext>
    </p:extLst>
  </p:cSld>
  <p:clrMapOvr>
    <a:masterClrMapping/>
  </p:clrMapOvr>
  <p:transition spd="med"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Short Senten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6" name="Title Text"/>
          <p:cNvSpPr txBox="1">
            <a:spLocks noGrp="1"/>
          </p:cNvSpPr>
          <p:nvPr>
            <p:ph type="title"/>
          </p:nvPr>
        </p:nvSpPr>
        <p:spPr>
          <a:xfrm>
            <a:off x="2915112" y="2759354"/>
            <a:ext cx="6361777" cy="660401"/>
          </a:xfrm>
          <a:prstGeom prst="rect">
            <a:avLst/>
          </a:prstGeom>
        </p:spPr>
        <p:txBody>
          <a:bodyPr/>
          <a:lstStyle>
            <a:lvl1pPr algn="ctr">
              <a:defRPr b="0"/>
            </a:lvl1pPr>
          </a:lstStyle>
          <a:p>
            <a:r>
              <a:t>Title Tex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4757695-E36E-A94C-8D32-D79595D2AA4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375354" y="403381"/>
            <a:ext cx="457200" cy="234950"/>
          </a:xfrm>
          <a:prstGeom prst="rect">
            <a:avLst/>
          </a:prstGeom>
        </p:spPr>
      </p:pic>
      <p:sp>
        <p:nvSpPr>
          <p:cNvPr id="4" name="Copyright © 2019 Sinch. All rights reserved. NDA Confidential.">
            <a:extLst>
              <a:ext uri="{FF2B5EF4-FFF2-40B4-BE49-F238E27FC236}">
                <a16:creationId xmlns:a16="http://schemas.microsoft.com/office/drawing/2014/main" id="{73B88705-D85B-A746-979A-7EF56FF139A7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rgbClr val="414B53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26517137"/>
      </p:ext>
    </p:extLst>
  </p:cSld>
  <p:clrMapOvr>
    <a:masterClrMapping/>
  </p:clrMapOvr>
  <p:transition spd="med"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 Purple">
    <p:bg>
      <p:bgPr>
        <a:solidFill>
          <a:srgbClr val="5C07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4" name="Thank you"/>
          <p:cNvSpPr txBox="1"/>
          <p:nvPr/>
        </p:nvSpPr>
        <p:spPr>
          <a:xfrm>
            <a:off x="1785564" y="2762529"/>
            <a:ext cx="4545826" cy="9820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>
            <a:lvl1pPr algn="l" defTabSz="457200">
              <a:lnSpc>
                <a:spcPts val="8500"/>
              </a:lnSpc>
              <a:defRPr sz="6400">
                <a:solidFill>
                  <a:srgbClr val="F4C3CC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3200"/>
              <a:t>Thank you</a:t>
            </a:r>
          </a:p>
        </p:txBody>
      </p:sp>
      <p:pic>
        <p:nvPicPr>
          <p:cNvPr id="81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947" y="6191033"/>
            <a:ext cx="1121654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B4556B39-A64A-FE47-81BD-838F8C170C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2304" y="2878193"/>
            <a:ext cx="603250" cy="311150"/>
          </a:xfrm>
          <a:prstGeom prst="rect">
            <a:avLst/>
          </a:prstGeom>
        </p:spPr>
      </p:pic>
      <p:sp>
        <p:nvSpPr>
          <p:cNvPr id="5" name="Copyright © 2019 Sinch. All rights reserved. NDA Confidential.">
            <a:extLst>
              <a:ext uri="{FF2B5EF4-FFF2-40B4-BE49-F238E27FC236}">
                <a16:creationId xmlns:a16="http://schemas.microsoft.com/office/drawing/2014/main" id="{FEC6BDFE-1513-B844-B0E0-5EE1576D7306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27833352"/>
      </p:ext>
    </p:extLst>
  </p:cSld>
  <p:clrMapOvr>
    <a:masterClrMapping/>
  </p:clrMapOvr>
  <p:transition spd="med"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 Grey ">
    <p:bg>
      <p:bgPr>
        <a:solidFill>
          <a:srgbClr val="333E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4" name="Thank you"/>
          <p:cNvSpPr txBox="1"/>
          <p:nvPr/>
        </p:nvSpPr>
        <p:spPr>
          <a:xfrm>
            <a:off x="1785564" y="2762529"/>
            <a:ext cx="4545826" cy="9820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>
            <a:lvl1pPr algn="l" defTabSz="457200">
              <a:lnSpc>
                <a:spcPts val="8500"/>
              </a:lnSpc>
              <a:defRPr sz="6400">
                <a:solidFill>
                  <a:srgbClr val="C2E088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3200"/>
              <a:t>Thank you</a:t>
            </a:r>
          </a:p>
        </p:txBody>
      </p:sp>
      <p:pic>
        <p:nvPicPr>
          <p:cNvPr id="825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947" y="6191033"/>
            <a:ext cx="1121654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57A5EF1-69DE-E54D-90D3-73C978921B8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42304" y="2878193"/>
            <a:ext cx="603250" cy="311150"/>
          </a:xfrm>
          <a:prstGeom prst="rect">
            <a:avLst/>
          </a:prstGeom>
        </p:spPr>
      </p:pic>
      <p:sp>
        <p:nvSpPr>
          <p:cNvPr id="5" name="Copyright © 2019 Sinch. All rights reserved. NDA Confidential.">
            <a:extLst>
              <a:ext uri="{FF2B5EF4-FFF2-40B4-BE49-F238E27FC236}">
                <a16:creationId xmlns:a16="http://schemas.microsoft.com/office/drawing/2014/main" id="{1CCF6710-EA4B-8149-9B46-22BFCCEEBFB1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63903572"/>
      </p:ext>
    </p:extLst>
  </p:cSld>
  <p:clrMapOvr>
    <a:masterClrMapping/>
  </p:clrMapOvr>
  <p:transition spd="med"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 - Image">
    <p:bg>
      <p:bgPr>
        <a:solidFill>
          <a:srgbClr val="5C07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3" name="concierge.jpg" descr="concierg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44" name="Thank you"/>
          <p:cNvSpPr txBox="1"/>
          <p:nvPr/>
        </p:nvSpPr>
        <p:spPr>
          <a:xfrm>
            <a:off x="1785564" y="2762529"/>
            <a:ext cx="4545826" cy="9820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>
            <a:lvl1pPr algn="l" defTabSz="457200">
              <a:lnSpc>
                <a:spcPts val="8500"/>
              </a:lnSpc>
              <a:defRPr sz="64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3200"/>
              <a:t>Thank you</a:t>
            </a:r>
          </a:p>
        </p:txBody>
      </p:sp>
      <p:pic>
        <p:nvPicPr>
          <p:cNvPr id="846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947" y="6191033"/>
            <a:ext cx="1121654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620E597-B4A8-2D42-A8BA-A312804FE3E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2304" y="2878193"/>
            <a:ext cx="603250" cy="311150"/>
          </a:xfrm>
          <a:prstGeom prst="rect">
            <a:avLst/>
          </a:prstGeom>
        </p:spPr>
      </p:pic>
      <p:sp>
        <p:nvSpPr>
          <p:cNvPr id="6" name="Copyright © 2019 Sinch. All rights reserved. NDA Confidential.">
            <a:extLst>
              <a:ext uri="{FF2B5EF4-FFF2-40B4-BE49-F238E27FC236}">
                <a16:creationId xmlns:a16="http://schemas.microsoft.com/office/drawing/2014/main" id="{F49ED831-BD49-6E4E-B86F-EF32E0B56094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039107882"/>
      </p:ext>
    </p:extLst>
  </p:cSld>
  <p:clrMapOvr>
    <a:masterClrMapping/>
  </p:clrMapOvr>
  <p:transition spd="med"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End Slide - Image 2">
    <p:bg>
      <p:bgPr>
        <a:solidFill>
          <a:srgbClr val="5C078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54" name="travellerBubble.jpg" descr="travellerBubble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 w="12700">
            <a:miter lim="400000"/>
          </a:ln>
        </p:spPr>
      </p:pic>
      <p:sp>
        <p:nvSpPr>
          <p:cNvPr id="855" name="Thank you"/>
          <p:cNvSpPr txBox="1"/>
          <p:nvPr/>
        </p:nvSpPr>
        <p:spPr>
          <a:xfrm>
            <a:off x="1785564" y="2762529"/>
            <a:ext cx="4545826" cy="98206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>
            <a:spAutoFit/>
          </a:bodyPr>
          <a:lstStyle>
            <a:lvl1pPr algn="l" defTabSz="457200">
              <a:lnSpc>
                <a:spcPts val="8500"/>
              </a:lnSpc>
              <a:defRPr sz="6400">
                <a:solidFill>
                  <a:srgbClr val="FFFFFF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3200"/>
              <a:t>Thank you</a:t>
            </a:r>
          </a:p>
        </p:txBody>
      </p:sp>
      <p:pic>
        <p:nvPicPr>
          <p:cNvPr id="857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50947" y="6191033"/>
            <a:ext cx="1121654" cy="355601"/>
          </a:xfrm>
          <a:prstGeom prst="rect">
            <a:avLst/>
          </a:prstGeom>
          <a:ln w="12700">
            <a:miter lim="400000"/>
          </a:ln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B1CAC6D-BEFF-C341-88AA-4D20F35854C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42304" y="2878193"/>
            <a:ext cx="603250" cy="311150"/>
          </a:xfrm>
          <a:prstGeom prst="rect">
            <a:avLst/>
          </a:prstGeom>
        </p:spPr>
      </p:pic>
      <p:sp>
        <p:nvSpPr>
          <p:cNvPr id="6" name="Copyright © 2019 Sinch. All rights reserved. NDA Confidential.">
            <a:extLst>
              <a:ext uri="{FF2B5EF4-FFF2-40B4-BE49-F238E27FC236}">
                <a16:creationId xmlns:a16="http://schemas.microsoft.com/office/drawing/2014/main" id="{CBB199E6-3A06-ED4E-BBA1-AFE8E533572C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19 Sinch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349850953"/>
      </p:ext>
    </p:extLst>
  </p:cSld>
  <p:clrMapOvr>
    <a:masterClrMapping/>
  </p:clrMapOvr>
  <p:transition spd="med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Icon Library part 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1" name="Copyright © 2019 Sinch. All rights reserved. NDA Confidential."/>
          <p:cNvSpPr txBox="1"/>
          <p:nvPr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Sinch. All rights reserved. NDA Confidential.</a:t>
            </a:r>
          </a:p>
        </p:txBody>
      </p:sp>
      <p:sp>
        <p:nvSpPr>
          <p:cNvPr id="905" name="Icon library"/>
          <p:cNvSpPr txBox="1"/>
          <p:nvPr/>
        </p:nvSpPr>
        <p:spPr>
          <a:xfrm>
            <a:off x="1193800" y="715748"/>
            <a:ext cx="5634881" cy="6915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algn="l" defTabSz="457200">
              <a:lnSpc>
                <a:spcPts val="8500"/>
              </a:lnSpc>
              <a:defRPr sz="6400">
                <a:solidFill>
                  <a:srgbClr val="5C078B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3200">
                <a:solidFill>
                  <a:srgbClr val="414B53"/>
                </a:solidFill>
              </a:rPr>
              <a:t>Icon library</a:t>
            </a:r>
          </a:p>
        </p:txBody>
      </p:sp>
      <p:sp>
        <p:nvSpPr>
          <p:cNvPr id="906" name="Messaging"/>
          <p:cNvSpPr txBox="1"/>
          <p:nvPr/>
        </p:nvSpPr>
        <p:spPr>
          <a:xfrm>
            <a:off x="1193800" y="3135202"/>
            <a:ext cx="919833" cy="3462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Messaging</a:t>
            </a:r>
          </a:p>
        </p:txBody>
      </p:sp>
      <p:sp>
        <p:nvSpPr>
          <p:cNvPr id="907" name="Fraud &amp; Security"/>
          <p:cNvSpPr txBox="1"/>
          <p:nvPr/>
        </p:nvSpPr>
        <p:spPr>
          <a:xfrm>
            <a:off x="2999160" y="3135202"/>
            <a:ext cx="919833" cy="5875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Fraud &amp; Security</a:t>
            </a:r>
          </a:p>
        </p:txBody>
      </p:sp>
      <p:sp>
        <p:nvSpPr>
          <p:cNvPr id="908" name="Enterprise Messenger"/>
          <p:cNvSpPr txBox="1"/>
          <p:nvPr/>
        </p:nvSpPr>
        <p:spPr>
          <a:xfrm>
            <a:off x="4804519" y="3135202"/>
            <a:ext cx="919833" cy="58759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Enterprise Messenger</a:t>
            </a:r>
          </a:p>
        </p:txBody>
      </p:sp>
      <p:sp>
        <p:nvSpPr>
          <p:cNvPr id="909" name="Business Support Systems"/>
          <p:cNvSpPr txBox="1"/>
          <p:nvPr/>
        </p:nvSpPr>
        <p:spPr>
          <a:xfrm>
            <a:off x="6524427" y="3135202"/>
            <a:ext cx="1090737" cy="691528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Business Support Systems</a:t>
            </a:r>
          </a:p>
        </p:txBody>
      </p:sp>
      <p:sp>
        <p:nvSpPr>
          <p:cNvPr id="910" name="Users"/>
          <p:cNvSpPr txBox="1"/>
          <p:nvPr/>
        </p:nvSpPr>
        <p:spPr>
          <a:xfrm>
            <a:off x="8415238" y="3135202"/>
            <a:ext cx="919833" cy="346297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Users</a:t>
            </a:r>
          </a:p>
        </p:txBody>
      </p:sp>
      <p:sp>
        <p:nvSpPr>
          <p:cNvPr id="911" name="Time"/>
          <p:cNvSpPr txBox="1"/>
          <p:nvPr/>
        </p:nvSpPr>
        <p:spPr>
          <a:xfrm>
            <a:off x="10220598" y="3135202"/>
            <a:ext cx="919833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Time</a:t>
            </a:r>
          </a:p>
        </p:txBody>
      </p:sp>
      <p:sp>
        <p:nvSpPr>
          <p:cNvPr id="912" name="Tag"/>
          <p:cNvSpPr txBox="1"/>
          <p:nvPr/>
        </p:nvSpPr>
        <p:spPr>
          <a:xfrm>
            <a:off x="1193800" y="5488825"/>
            <a:ext cx="919833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Tag</a:t>
            </a:r>
          </a:p>
        </p:txBody>
      </p:sp>
      <p:sp>
        <p:nvSpPr>
          <p:cNvPr id="913" name="Shopping cart"/>
          <p:cNvSpPr txBox="1"/>
          <p:nvPr/>
        </p:nvSpPr>
        <p:spPr>
          <a:xfrm>
            <a:off x="2999160" y="5488825"/>
            <a:ext cx="919833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Shopping cart</a:t>
            </a:r>
          </a:p>
        </p:txBody>
      </p:sp>
      <p:sp>
        <p:nvSpPr>
          <p:cNvPr id="914" name="Sender ID"/>
          <p:cNvSpPr txBox="1"/>
          <p:nvPr/>
        </p:nvSpPr>
        <p:spPr>
          <a:xfrm>
            <a:off x="4719067" y="5488825"/>
            <a:ext cx="1090738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Sender ID</a:t>
            </a:r>
          </a:p>
        </p:txBody>
      </p:sp>
      <p:sp>
        <p:nvSpPr>
          <p:cNvPr id="915" name="Robot"/>
          <p:cNvSpPr txBox="1"/>
          <p:nvPr/>
        </p:nvSpPr>
        <p:spPr>
          <a:xfrm>
            <a:off x="6609879" y="5488825"/>
            <a:ext cx="919833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Robot</a:t>
            </a:r>
          </a:p>
        </p:txBody>
      </p:sp>
      <p:sp>
        <p:nvSpPr>
          <p:cNvPr id="916" name="Requirements"/>
          <p:cNvSpPr txBox="1"/>
          <p:nvPr/>
        </p:nvSpPr>
        <p:spPr>
          <a:xfrm>
            <a:off x="8288561" y="5488825"/>
            <a:ext cx="1173188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Requirements</a:t>
            </a:r>
          </a:p>
        </p:txBody>
      </p:sp>
      <p:sp>
        <p:nvSpPr>
          <p:cNvPr id="917" name="Bell"/>
          <p:cNvSpPr txBox="1"/>
          <p:nvPr/>
        </p:nvSpPr>
        <p:spPr>
          <a:xfrm>
            <a:off x="10220598" y="5488825"/>
            <a:ext cx="919833" cy="5916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/>
          <a:lstStyle>
            <a:lvl1pPr defTabSz="457200">
              <a:lnSpc>
                <a:spcPts val="4100"/>
              </a:lnSpc>
              <a:defRPr sz="2700" b="0">
                <a:solidFill>
                  <a:srgbClr val="333E4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1350"/>
              <a:t>Bell</a:t>
            </a:r>
          </a:p>
        </p:txBody>
      </p:sp>
      <p:pic>
        <p:nvPicPr>
          <p:cNvPr id="918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53740" y="1877640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19" name="Image" descr="Imag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59100" y="1877640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0" name="Image" descr="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4460" y="1873283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1" name="Image" descr="Image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819" y="1877640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2" name="Image" descr="Image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75179" y="1877640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3" name="Image" descr="Image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180538" y="1877640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4" name="Image" descr="Image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3740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5" name="Image" descr="Image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959100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6" name="Image" descr="Image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64460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7" name="Image" descr="Image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569819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8" name="Image" descr="Image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375179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929" name="Image" descr="Image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0180538" y="4216961"/>
            <a:ext cx="999952" cy="999952"/>
          </a:xfrm>
          <a:prstGeom prst="rect">
            <a:avLst/>
          </a:prstGeom>
          <a:ln w="12700">
            <a:miter lim="400000"/>
          </a:ln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1C4AD852-5F11-D744-B513-4222EA5C2F35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11375354" y="405111"/>
            <a:ext cx="457200" cy="23495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E3C2070-CE26-E543-AD00-D48C37AAF7E8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34" name="Rectangle">
            <a:extLst>
              <a:ext uri="{FF2B5EF4-FFF2-40B4-BE49-F238E27FC236}">
                <a16:creationId xmlns:a16="http://schemas.microsoft.com/office/drawing/2014/main" id="{54D1C7D2-5A9A-E04B-861D-03A7B1E94F96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285467164"/>
      </p:ext>
    </p:extLst>
  </p:cSld>
  <p:clrMapOvr>
    <a:masterClrMapping/>
  </p:clrMapOvr>
  <p:transition spd="med"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Divider Slide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33" name="4k-wallpaper-architecture-blur-1236703.jpg" descr="4k-wallpaper-architecture-blur-1236703.jpg"/>
          <p:cNvPicPr>
            <a:picLocks noChangeAspect="1"/>
          </p:cNvPicPr>
          <p:nvPr/>
        </p:nvPicPr>
        <p:blipFill>
          <a:blip r:embed="rId2">
            <a:alphaModFix amt="14401"/>
          </a:blip>
          <a:srcRect t="33924" b="28336"/>
          <a:stretch>
            <a:fillRect/>
          </a:stretch>
        </p:blipFill>
        <p:spPr>
          <a:xfrm>
            <a:off x="1" y="-777283"/>
            <a:ext cx="15792407" cy="8939835"/>
          </a:xfrm>
          <a:prstGeom prst="rect">
            <a:avLst/>
          </a:prstGeom>
          <a:ln w="12700">
            <a:miter lim="400000"/>
          </a:ln>
        </p:spPr>
      </p:pic>
      <p:sp>
        <p:nvSpPr>
          <p:cNvPr id="1234" name="Title Text"/>
          <p:cNvSpPr txBox="1">
            <a:spLocks noGrp="1"/>
          </p:cNvSpPr>
          <p:nvPr>
            <p:ph type="title"/>
          </p:nvPr>
        </p:nvSpPr>
        <p:spPr>
          <a:xfrm>
            <a:off x="515940" y="1720935"/>
            <a:ext cx="5026484" cy="2157066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4800" b="0">
                <a:solidFill>
                  <a:schemeClr val="accent4"/>
                </a:solidFill>
                <a:latin typeface="Atlas Grotesk Black"/>
                <a:ea typeface="Atlas Grotesk Black"/>
                <a:cs typeface="Atlas Grotesk Black"/>
                <a:sym typeface="Atlas Grotesk Black"/>
              </a:defRPr>
            </a:lvl1pPr>
          </a:lstStyle>
          <a:p>
            <a:r>
              <a:t>Title Text</a:t>
            </a:r>
          </a:p>
        </p:txBody>
      </p:sp>
      <p:sp>
        <p:nvSpPr>
          <p:cNvPr id="1235" name="Body Level One…"/>
          <p:cNvSpPr txBox="1">
            <a:spLocks noGrp="1"/>
          </p:cNvSpPr>
          <p:nvPr>
            <p:ph type="body" sz="quarter" idx="1"/>
          </p:nvPr>
        </p:nvSpPr>
        <p:spPr>
          <a:xfrm>
            <a:off x="526256" y="4125733"/>
            <a:ext cx="5016606" cy="1204542"/>
          </a:xfrm>
          <a:prstGeom prst="rect">
            <a:avLst/>
          </a:prstGeom>
        </p:spPr>
        <p:txBody>
          <a:bodyPr/>
          <a:lstStyle>
            <a:lvl1pPr>
              <a:lnSpc>
                <a:spcPct val="85000"/>
              </a:lnSpc>
              <a:defRPr sz="2800" b="0">
                <a:solidFill>
                  <a:srgbClr val="FFFFFF"/>
                </a:solidFill>
                <a:latin typeface="Atlas Grotesk Thin"/>
                <a:ea typeface="Atlas Grotesk Thin"/>
                <a:cs typeface="Atlas Grotesk Thin"/>
                <a:sym typeface="Atlas Grotesk Thin"/>
              </a:defRPr>
            </a:lvl1pPr>
            <a:lvl2pPr>
              <a:lnSpc>
                <a:spcPct val="85000"/>
              </a:lnSpc>
              <a:defRPr sz="2800" b="0">
                <a:solidFill>
                  <a:srgbClr val="FFFFFF"/>
                </a:solidFill>
                <a:latin typeface="Atlas Grotesk Thin"/>
                <a:ea typeface="Atlas Grotesk Thin"/>
                <a:cs typeface="Atlas Grotesk Thin"/>
                <a:sym typeface="Atlas Grotesk Thin"/>
              </a:defRPr>
            </a:lvl2pPr>
            <a:lvl3pPr marL="228600" indent="-228600">
              <a:lnSpc>
                <a:spcPct val="85000"/>
              </a:lnSpc>
              <a:defRPr sz="2800" b="0">
                <a:solidFill>
                  <a:srgbClr val="FFFFFF"/>
                </a:solidFill>
                <a:latin typeface="Atlas Grotesk Thin"/>
                <a:ea typeface="Atlas Grotesk Thin"/>
                <a:cs typeface="Atlas Grotesk Thin"/>
                <a:sym typeface="Atlas Grotesk Thin"/>
              </a:defRPr>
            </a:lvl3pPr>
            <a:lvl4pPr marL="452437" indent="-228600">
              <a:lnSpc>
                <a:spcPct val="85000"/>
              </a:lnSpc>
              <a:defRPr sz="2800" b="0">
                <a:solidFill>
                  <a:srgbClr val="FFFFFF"/>
                </a:solidFill>
                <a:latin typeface="Atlas Grotesk Thin"/>
                <a:ea typeface="Atlas Grotesk Thin"/>
                <a:cs typeface="Atlas Grotesk Thin"/>
                <a:sym typeface="Atlas Grotesk Thin"/>
              </a:defRPr>
            </a:lvl4pPr>
            <a:lvl5pPr marL="679450" indent="-228600">
              <a:lnSpc>
                <a:spcPct val="85000"/>
              </a:lnSpc>
              <a:defRPr sz="2800" b="0">
                <a:solidFill>
                  <a:srgbClr val="FFFFFF"/>
                </a:solidFill>
                <a:latin typeface="Atlas Grotesk Thin"/>
                <a:ea typeface="Atlas Grotesk Thin"/>
                <a:cs typeface="Atlas Grotesk Thin"/>
                <a:sym typeface="Atlas Grotesk Thin"/>
              </a:defRPr>
            </a:lvl5pPr>
          </a:lstStyle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pic>
        <p:nvPicPr>
          <p:cNvPr id="1236" name="Picture 13" descr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4040" y="6260990"/>
            <a:ext cx="2422025" cy="355231"/>
          </a:xfrm>
          <a:prstGeom prst="rect">
            <a:avLst/>
          </a:prstGeom>
          <a:ln w="12700">
            <a:miter lim="400000"/>
          </a:ln>
        </p:spPr>
      </p:pic>
      <p:sp>
        <p:nvSpPr>
          <p:cNvPr id="1237" name="Confidential &amp; Proprietary © 2019 Sinch Engage"/>
          <p:cNvSpPr txBox="1"/>
          <p:nvPr/>
        </p:nvSpPr>
        <p:spPr>
          <a:xfrm>
            <a:off x="381680" y="6432103"/>
            <a:ext cx="2830903" cy="25648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wrap="none" lIns="50800" tIns="50800" rIns="50800" bIns="50800" anchor="ctr">
            <a:spAutoFit/>
          </a:bodyPr>
          <a:lstStyle>
            <a:lvl1pPr>
              <a:defRPr sz="1000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r>
              <a:rPr sz="1000"/>
              <a:t>Confidential &amp; Proprietary © 2019 Sinch Engage</a:t>
            </a:r>
          </a:p>
        </p:txBody>
      </p:sp>
      <p:sp>
        <p:nvSpPr>
          <p:cNvPr id="1238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04814562"/>
      </p:ext>
    </p:extLst>
  </p:cSld>
  <p:clrMapOvr>
    <a:masterClrMapping/>
  </p:clrMapOvr>
  <p:transition spd="med"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mpt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">
            <a:extLst>
              <a:ext uri="{FF2B5EF4-FFF2-40B4-BE49-F238E27FC236}">
                <a16:creationId xmlns:a16="http://schemas.microsoft.com/office/drawing/2014/main" id="{F308639E-7270-48F0-84B2-5CB89247F5B2}"/>
              </a:ext>
            </a:extLst>
          </p:cNvPr>
          <p:cNvSpPr/>
          <p:nvPr userDrawn="1"/>
        </p:nvSpPr>
        <p:spPr>
          <a:xfrm>
            <a:off x="0" y="6762750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  <p:sp>
        <p:nvSpPr>
          <p:cNvPr id="7" name="Title Text">
            <a:extLst>
              <a:ext uri="{FF2B5EF4-FFF2-40B4-BE49-F238E27FC236}">
                <a16:creationId xmlns:a16="http://schemas.microsoft.com/office/drawing/2014/main" id="{1EFA20B5-9590-4719-B886-D7771D627C3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1193800" y="715748"/>
            <a:ext cx="9360000" cy="69152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C078B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8" name="Picture Placeholder 14">
            <a:extLst>
              <a:ext uri="{FF2B5EF4-FFF2-40B4-BE49-F238E27FC236}">
                <a16:creationId xmlns:a16="http://schemas.microsoft.com/office/drawing/2014/main" id="{65EDDA99-B90B-406F-BA56-705B70647A4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568456" y="1774224"/>
            <a:ext cx="3813044" cy="4514394"/>
          </a:xfrm>
          <a:custGeom>
            <a:avLst/>
            <a:gdLst>
              <a:gd name="connsiteX0" fmla="*/ 2449557 w 4899114"/>
              <a:gd name="connsiteY0" fmla="*/ 0 h 5800229"/>
              <a:gd name="connsiteX1" fmla="*/ 4899114 w 4899114"/>
              <a:gd name="connsiteY1" fmla="*/ 2449558 h 5800229"/>
              <a:gd name="connsiteX2" fmla="*/ 3398485 w 4899114"/>
              <a:gd name="connsiteY2" fmla="*/ 4707859 h 5800229"/>
              <a:gd name="connsiteX3" fmla="*/ 1511664 w 4899114"/>
              <a:gd name="connsiteY3" fmla="*/ 5800229 h 5800229"/>
              <a:gd name="connsiteX4" fmla="*/ 1515342 w 4899114"/>
              <a:gd name="connsiteY4" fmla="*/ 4715215 h 5800229"/>
              <a:gd name="connsiteX5" fmla="*/ 0 w 4899114"/>
              <a:gd name="connsiteY5" fmla="*/ 2449558 h 5800229"/>
              <a:gd name="connsiteX6" fmla="*/ 2449557 w 4899114"/>
              <a:gd name="connsiteY6" fmla="*/ 0 h 580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99114" h="5800229">
                <a:moveTo>
                  <a:pt x="2449557" y="0"/>
                </a:moveTo>
                <a:cubicBezTo>
                  <a:pt x="3803066" y="0"/>
                  <a:pt x="4899114" y="1096048"/>
                  <a:pt x="4899114" y="2449558"/>
                </a:cubicBezTo>
                <a:cubicBezTo>
                  <a:pt x="4899114" y="3464690"/>
                  <a:pt x="4281208" y="4336380"/>
                  <a:pt x="3398485" y="4707859"/>
                </a:cubicBezTo>
                <a:lnTo>
                  <a:pt x="1511664" y="5800229"/>
                </a:lnTo>
                <a:lnTo>
                  <a:pt x="1515342" y="4715215"/>
                </a:lnTo>
                <a:cubicBezTo>
                  <a:pt x="625262" y="4347414"/>
                  <a:pt x="0" y="3472046"/>
                  <a:pt x="0" y="2449558"/>
                </a:cubicBezTo>
                <a:cubicBezTo>
                  <a:pt x="0" y="1096048"/>
                  <a:pt x="1096048" y="0"/>
                  <a:pt x="244955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792000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pic>
        <p:nvPicPr>
          <p:cNvPr id="9" name="Image 8" descr="Une image contenant signe&#10;&#10;Description générée automatiquement">
            <a:extLst>
              <a:ext uri="{FF2B5EF4-FFF2-40B4-BE49-F238E27FC236}">
                <a16:creationId xmlns:a16="http://schemas.microsoft.com/office/drawing/2014/main" id="{FE7DB564-7065-4316-9FC8-B1551C84041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20400" y="223712"/>
            <a:ext cx="980658" cy="422337"/>
          </a:xfrm>
          <a:prstGeom prst="rect">
            <a:avLst/>
          </a:prstGeom>
        </p:spPr>
      </p:pic>
      <p:pic>
        <p:nvPicPr>
          <p:cNvPr id="10" name="Image 9" descr="Une image contenant signe&#10;&#10;Description générée automatiquement">
            <a:extLst>
              <a:ext uri="{FF2B5EF4-FFF2-40B4-BE49-F238E27FC236}">
                <a16:creationId xmlns:a16="http://schemas.microsoft.com/office/drawing/2014/main" id="{BA8F9CBA-ED90-4143-A794-C89E6D102EA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42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9516" y="6392004"/>
            <a:ext cx="620802" cy="267359"/>
          </a:xfrm>
          <a:prstGeom prst="rect">
            <a:avLst/>
          </a:prstGeom>
        </p:spPr>
      </p:pic>
      <p:sp>
        <p:nvSpPr>
          <p:cNvPr id="11" name="Copyright © 2019 Sinch. All rights reserved. NDA Confidential.">
            <a:extLst>
              <a:ext uri="{FF2B5EF4-FFF2-40B4-BE49-F238E27FC236}">
                <a16:creationId xmlns:a16="http://schemas.microsoft.com/office/drawing/2014/main" id="{14C43519-2D8A-4EB7-886F-A33D4878D8F2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019 </a:t>
            </a:r>
            <a:r>
              <a:rPr lang="fr-FR" sz="400" err="1"/>
              <a:t>Sinch</a:t>
            </a:r>
            <a:r>
              <a:rPr sz="400"/>
              <a:t>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10134460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ight Title-onl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FB9E9CD-D1E8-2941-B6E9-04C71E3BFC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37183" y="4508412"/>
            <a:ext cx="5854818" cy="234192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07B599F-269A-4E45-BB4E-31A49D23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8096" y="783027"/>
            <a:ext cx="9887834" cy="844095"/>
          </a:xfrm>
        </p:spPr>
        <p:txBody>
          <a:bodyPr vert="horz" lIns="0" tIns="45720" rIns="0" bIns="45720" rtlCol="0" anchor="b">
            <a:noAutofit/>
          </a:bodyPr>
          <a:lstStyle>
            <a:lvl1pPr>
              <a:defRPr lang="en-US" sz="2400" b="1" i="0" baseline="0">
                <a:latin typeface="Oracle Sans" panose="020B0503020204020204" pitchFamily="34" charset="0"/>
                <a:ea typeface="+mn-ea"/>
                <a:cs typeface="Oracle Sans" panose="020B0503020204020204" pitchFamily="34" charset="0"/>
              </a:defRPr>
            </a:lvl1pPr>
          </a:lstStyle>
          <a:p>
            <a:pPr marL="0" lvl="0" indent="0">
              <a:spcBef>
                <a:spcPts val="1000"/>
              </a:spcBef>
              <a:buFont typeface="Arial" panose="020B0604020202020204" pitchFamily="34" charset="0"/>
            </a:pPr>
            <a:r>
              <a:rPr lang="en-US"/>
              <a:t>Title-Only Layou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24354AA-8715-3B44-8031-FEACECD4374F}"/>
              </a:ext>
            </a:extLst>
          </p:cNvPr>
          <p:cNvSpPr/>
          <p:nvPr userDrawn="1"/>
        </p:nvSpPr>
        <p:spPr>
          <a:xfrm>
            <a:off x="768096" y="1867578"/>
            <a:ext cx="310896" cy="365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C190DBB-69E8-094F-9F7D-5D6A482AA94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544066" y="6356350"/>
            <a:ext cx="501650" cy="50165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AEE4841-C9BE-EE48-ADBB-317C9F9AC3D7}"/>
              </a:ext>
            </a:extLst>
          </p:cNvPr>
          <p:cNvSpPr/>
          <p:nvPr userDrawn="1"/>
        </p:nvSpPr>
        <p:spPr>
          <a:xfrm>
            <a:off x="11126838" y="6357306"/>
            <a:ext cx="518160" cy="501648"/>
          </a:xfrm>
          <a:prstGeom prst="rect">
            <a:avLst/>
          </a:prstGeom>
          <a:solidFill>
            <a:srgbClr val="424B5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00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D9650AB-1AEC-3C49-9772-BD9B67E511A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09544" y="6516850"/>
            <a:ext cx="352748" cy="182563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8B7D9FF9-2917-C542-ADDC-4416CC485BC6}"/>
              </a:ext>
            </a:extLst>
          </p:cNvPr>
          <p:cNvSpPr txBox="1">
            <a:spLocks/>
          </p:cNvSpPr>
          <p:nvPr userDrawn="1"/>
        </p:nvSpPr>
        <p:spPr>
          <a:xfrm>
            <a:off x="547003" y="6334287"/>
            <a:ext cx="256653" cy="365125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800" b="0" i="0" kern="1200">
                <a:solidFill>
                  <a:schemeClr val="tx1">
                    <a:lumMod val="65000"/>
                    <a:lumOff val="35000"/>
                  </a:schemeClr>
                </a:solidFill>
                <a:latin typeface="Georgia" panose="02040502050405020303" pitchFamily="18" charset="0"/>
                <a:ea typeface="Helvetica Neue Thin" panose="020B0403020202020204" pitchFamily="34" charset="0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D4D5E96-FD29-5841-BB83-52C5B12CAB37}" type="slidenum">
              <a:rPr kumimoji="0" lang="en-US" sz="1000" b="0" i="0" u="none" strike="noStrike" kern="1200" cap="none" spc="0" normalizeH="0" baseline="0" smtClean="0">
                <a:ln>
                  <a:noFill/>
                </a:ln>
                <a:solidFill>
                  <a:srgbClr val="8B8580"/>
                </a:solidFill>
                <a:effectLst/>
                <a:uLnTx/>
                <a:uFillTx/>
                <a:latin typeface="Oracle Sans"/>
                <a:ea typeface="+mn-ea"/>
                <a:cs typeface="Oracle Sans" panose="020B0503020204020204" pitchFamily="34" charset="0"/>
              </a:rPr>
              <a:pPr/>
              <a:t>‹#›</a:t>
            </a:fld>
            <a:endParaRPr kumimoji="0" lang="en-US" sz="1000" b="0" i="0" u="none" strike="noStrike" kern="1200" cap="none" spc="0" normalizeH="0" baseline="0">
              <a:ln>
                <a:noFill/>
              </a:ln>
              <a:solidFill>
                <a:srgbClr val="8B8580"/>
              </a:solidFill>
              <a:effectLst/>
              <a:uLnTx/>
              <a:uFillTx/>
              <a:latin typeface="Oracle Sans"/>
              <a:ea typeface="+mn-ea"/>
              <a:cs typeface="Oracle Sans" panose="020B0503020204020204" pitchFamily="34" charset="0"/>
            </a:endParaRPr>
          </a:p>
        </p:txBody>
      </p:sp>
      <p:sp>
        <p:nvSpPr>
          <p:cNvPr id="15" name="Footer Placeholder 1">
            <a:extLst>
              <a:ext uri="{FF2B5EF4-FFF2-40B4-BE49-F238E27FC236}">
                <a16:creationId xmlns:a16="http://schemas.microsoft.com/office/drawing/2014/main" id="{CD4A87C6-47FC-5640-9FB0-CA02F7E12841}"/>
              </a:ext>
            </a:extLst>
          </p:cNvPr>
          <p:cNvSpPr txBox="1">
            <a:spLocks/>
          </p:cNvSpPr>
          <p:nvPr userDrawn="1"/>
        </p:nvSpPr>
        <p:spPr>
          <a:xfrm>
            <a:off x="1127760" y="6364157"/>
            <a:ext cx="574537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0" kern="1200">
                <a:solidFill>
                  <a:srgbClr val="8B8078"/>
                </a:solidFill>
                <a:latin typeface="+mn-lt"/>
                <a:ea typeface="+mn-ea"/>
                <a:cs typeface="Oracle Sans" panose="020B0503020204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1000">
                <a:solidFill>
                  <a:srgbClr val="8B8580"/>
                </a:solidFill>
                <a:latin typeface="Oracle Sans"/>
              </a:rPr>
              <a:t>Copyright © 2020, Oracle and/or its affiliates  |  Confidential: Restricted</a:t>
            </a:r>
          </a:p>
        </p:txBody>
      </p:sp>
    </p:spTree>
    <p:extLst>
      <p:ext uri="{BB962C8B-B14F-4D97-AF65-F5344CB8AC3E}">
        <p14:creationId xmlns:p14="http://schemas.microsoft.com/office/powerpoint/2010/main" val="202458602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639554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+ 6 Content Box + 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8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179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515940" y="1787525"/>
            <a:ext cx="708143" cy="70814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0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515940" y="3933150"/>
            <a:ext cx="708143" cy="7081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1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4343930" y="1787525"/>
            <a:ext cx="708143" cy="70814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2" name="Picture Placeholder 7"/>
          <p:cNvSpPr>
            <a:spLocks noGrp="1"/>
          </p:cNvSpPr>
          <p:nvPr>
            <p:ph type="pic" sz="quarter" idx="16"/>
          </p:nvPr>
        </p:nvSpPr>
        <p:spPr>
          <a:xfrm>
            <a:off x="4343930" y="3933150"/>
            <a:ext cx="708143" cy="7081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3" name="Picture Placeholder 7"/>
          <p:cNvSpPr>
            <a:spLocks noGrp="1"/>
          </p:cNvSpPr>
          <p:nvPr>
            <p:ph type="pic" sz="quarter" idx="17"/>
          </p:nvPr>
        </p:nvSpPr>
        <p:spPr>
          <a:xfrm>
            <a:off x="8171922" y="1787525"/>
            <a:ext cx="708143" cy="708142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4" name="Picture Placeholder 7"/>
          <p:cNvSpPr>
            <a:spLocks noGrp="1"/>
          </p:cNvSpPr>
          <p:nvPr>
            <p:ph type="pic" sz="quarter" idx="18"/>
          </p:nvPr>
        </p:nvSpPr>
        <p:spPr>
          <a:xfrm>
            <a:off x="8171922" y="3933150"/>
            <a:ext cx="708143" cy="708143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185" name="Content Placeholder 12"/>
          <p:cNvSpPr txBox="1">
            <a:spLocks noGrp="1"/>
          </p:cNvSpPr>
          <p:nvPr>
            <p:ph type="body" sz="quarter" idx="19"/>
          </p:nvPr>
        </p:nvSpPr>
        <p:spPr>
          <a:xfrm>
            <a:off x="515938" y="4745414"/>
            <a:ext cx="3504140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four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86" name="Content Placeholder 13"/>
          <p:cNvSpPr txBox="1">
            <a:spLocks noGrp="1"/>
          </p:cNvSpPr>
          <p:nvPr>
            <p:ph type="body" sz="quarter" idx="20"/>
          </p:nvPr>
        </p:nvSpPr>
        <p:spPr>
          <a:xfrm>
            <a:off x="4343930" y="2597591"/>
            <a:ext cx="3504139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two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87" name="Content Placeholder 14"/>
          <p:cNvSpPr txBox="1">
            <a:spLocks noGrp="1"/>
          </p:cNvSpPr>
          <p:nvPr>
            <p:ph type="body" sz="quarter" idx="21"/>
          </p:nvPr>
        </p:nvSpPr>
        <p:spPr>
          <a:xfrm>
            <a:off x="4343930" y="4745414"/>
            <a:ext cx="3504139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five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88" name="Content Placeholder 1"/>
          <p:cNvSpPr txBox="1">
            <a:spLocks noGrp="1"/>
          </p:cNvSpPr>
          <p:nvPr>
            <p:ph type="body" sz="quarter" idx="22"/>
          </p:nvPr>
        </p:nvSpPr>
        <p:spPr>
          <a:xfrm>
            <a:off x="8171922" y="2597591"/>
            <a:ext cx="3504139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three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89" name="Content Placeholder 2"/>
          <p:cNvSpPr txBox="1">
            <a:spLocks noGrp="1"/>
          </p:cNvSpPr>
          <p:nvPr>
            <p:ph type="body" sz="quarter" idx="23"/>
          </p:nvPr>
        </p:nvSpPr>
        <p:spPr>
          <a:xfrm>
            <a:off x="8171924" y="4745414"/>
            <a:ext cx="3504139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six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90" name="Content Placeholder 11"/>
          <p:cNvSpPr txBox="1">
            <a:spLocks noGrp="1"/>
          </p:cNvSpPr>
          <p:nvPr>
            <p:ph type="body" sz="quarter" idx="24"/>
          </p:nvPr>
        </p:nvSpPr>
        <p:spPr>
          <a:xfrm>
            <a:off x="515940" y="2597591"/>
            <a:ext cx="3504139" cy="1222219"/>
          </a:xfrm>
          <a:prstGeom prst="rect">
            <a:avLst/>
          </a:prstGeom>
        </p:spPr>
        <p:txBody>
          <a:bodyPr/>
          <a:lstStyle>
            <a:lvl2pPr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lvl2pPr>
          </a:lstStyle>
          <a:p>
            <a:r>
              <a:t>Text box one</a:t>
            </a:r>
          </a:p>
          <a:p>
            <a:pPr lvl="1"/>
            <a:r>
              <a:t>Lorem ipsum dolor sit amet, consectetur adipiscing elit, sed do eiusmod tempor incididunt.</a:t>
            </a:r>
          </a:p>
        </p:txBody>
      </p:sp>
      <p:sp>
        <p:nvSpPr>
          <p:cNvPr id="191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562888787"/>
      </p:ext>
    </p:extLst>
  </p:cSld>
  <p:clrMapOvr>
    <a:masterClrMapping/>
  </p:clrMapOvr>
  <p:transition spd="med"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18337-E685-4AD3-9F91-77D7D26FE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itle can span up to 2 lin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1ED641-F422-4A64-A928-21CC1E0E13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9" y="2168525"/>
            <a:ext cx="11160124" cy="417671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Graphic 5">
            <a:extLst>
              <a:ext uri="{FF2B5EF4-FFF2-40B4-BE49-F238E27FC236}">
                <a16:creationId xmlns:a16="http://schemas.microsoft.com/office/drawing/2014/main" id="{5DAE4771-85EE-432C-82A4-8F4FA200626D}"/>
              </a:ext>
            </a:extLst>
          </p:cNvPr>
          <p:cNvSpPr/>
          <p:nvPr/>
        </p:nvSpPr>
        <p:spPr>
          <a:xfrm>
            <a:off x="9254040" y="5591617"/>
            <a:ext cx="2425767" cy="770602"/>
          </a:xfrm>
          <a:custGeom>
            <a:avLst/>
            <a:gdLst>
              <a:gd name="connsiteX0" fmla="*/ 237292 w 2425767"/>
              <a:gd name="connsiteY0" fmla="*/ 771287 h 770602"/>
              <a:gd name="connsiteX1" fmla="*/ 83172 w 2425767"/>
              <a:gd name="connsiteY1" fmla="*/ 737641 h 770602"/>
              <a:gd name="connsiteX2" fmla="*/ 2313 w 2425767"/>
              <a:gd name="connsiteY2" fmla="*/ 659495 h 770602"/>
              <a:gd name="connsiteX3" fmla="*/ 121702 w 2425767"/>
              <a:gd name="connsiteY3" fmla="*/ 590575 h 770602"/>
              <a:gd name="connsiteX4" fmla="*/ 242176 w 2425767"/>
              <a:gd name="connsiteY4" fmla="*/ 661666 h 770602"/>
              <a:gd name="connsiteX5" fmla="*/ 304584 w 2425767"/>
              <a:gd name="connsiteY5" fmla="*/ 644843 h 770602"/>
              <a:gd name="connsiteX6" fmla="*/ 325748 w 2425767"/>
              <a:gd name="connsiteY6" fmla="*/ 604685 h 770602"/>
              <a:gd name="connsiteX7" fmla="*/ 315980 w 2425767"/>
              <a:gd name="connsiteY7" fmla="*/ 580807 h 770602"/>
              <a:gd name="connsiteX8" fmla="*/ 289389 w 2425767"/>
              <a:gd name="connsiteY8" fmla="*/ 565069 h 770602"/>
              <a:gd name="connsiteX9" fmla="*/ 249774 w 2425767"/>
              <a:gd name="connsiteY9" fmla="*/ 553673 h 770602"/>
              <a:gd name="connsiteX10" fmla="*/ 202018 w 2425767"/>
              <a:gd name="connsiteY10" fmla="*/ 543905 h 770602"/>
              <a:gd name="connsiteX11" fmla="*/ 140153 w 2425767"/>
              <a:gd name="connsiteY11" fmla="*/ 527625 h 770602"/>
              <a:gd name="connsiteX12" fmla="*/ 82086 w 2425767"/>
              <a:gd name="connsiteY12" fmla="*/ 500491 h 770602"/>
              <a:gd name="connsiteX13" fmla="*/ 38672 w 2425767"/>
              <a:gd name="connsiteY13" fmla="*/ 456534 h 770602"/>
              <a:gd name="connsiteX14" fmla="*/ 22392 w 2425767"/>
              <a:gd name="connsiteY14" fmla="*/ 388157 h 770602"/>
              <a:gd name="connsiteX15" fmla="*/ 38129 w 2425767"/>
              <a:gd name="connsiteY15" fmla="*/ 325206 h 770602"/>
              <a:gd name="connsiteX16" fmla="*/ 82086 w 2425767"/>
              <a:gd name="connsiteY16" fmla="*/ 272566 h 770602"/>
              <a:gd name="connsiteX17" fmla="*/ 147208 w 2425767"/>
              <a:gd name="connsiteY17" fmla="*/ 237292 h 770602"/>
              <a:gd name="connsiteX18" fmla="*/ 230237 w 2425767"/>
              <a:gd name="connsiteY18" fmla="*/ 224268 h 770602"/>
              <a:gd name="connsiteX19" fmla="*/ 366449 w 2425767"/>
              <a:gd name="connsiteY19" fmla="*/ 254115 h 770602"/>
              <a:gd name="connsiteX20" fmla="*/ 444595 w 2425767"/>
              <a:gd name="connsiteY20" fmla="*/ 321407 h 770602"/>
              <a:gd name="connsiteX21" fmla="*/ 333346 w 2425767"/>
              <a:gd name="connsiteY21" fmla="*/ 384900 h 770602"/>
              <a:gd name="connsiteX22" fmla="*/ 292102 w 2425767"/>
              <a:gd name="connsiteY22" fmla="*/ 344200 h 770602"/>
              <a:gd name="connsiteX23" fmla="*/ 230237 w 2425767"/>
              <a:gd name="connsiteY23" fmla="*/ 329547 h 770602"/>
              <a:gd name="connsiteX24" fmla="*/ 175969 w 2425767"/>
              <a:gd name="connsiteY24" fmla="*/ 343657 h 770602"/>
              <a:gd name="connsiteX25" fmla="*/ 156976 w 2425767"/>
              <a:gd name="connsiteY25" fmla="*/ 380016 h 770602"/>
              <a:gd name="connsiteX26" fmla="*/ 187908 w 2425767"/>
              <a:gd name="connsiteY26" fmla="*/ 415290 h 770602"/>
              <a:gd name="connsiteX27" fmla="*/ 271481 w 2425767"/>
              <a:gd name="connsiteY27" fmla="*/ 438083 h 770602"/>
              <a:gd name="connsiteX28" fmla="*/ 338230 w 2425767"/>
              <a:gd name="connsiteY28" fmla="*/ 454363 h 770602"/>
              <a:gd name="connsiteX29" fmla="*/ 399552 w 2425767"/>
              <a:gd name="connsiteY29" fmla="*/ 482040 h 770602"/>
              <a:gd name="connsiteX30" fmla="*/ 444595 w 2425767"/>
              <a:gd name="connsiteY30" fmla="*/ 528167 h 770602"/>
              <a:gd name="connsiteX31" fmla="*/ 461960 w 2425767"/>
              <a:gd name="connsiteY31" fmla="*/ 598173 h 770602"/>
              <a:gd name="connsiteX32" fmla="*/ 448393 w 2425767"/>
              <a:gd name="connsiteY32" fmla="*/ 660038 h 770602"/>
              <a:gd name="connsiteX33" fmla="*/ 406607 w 2425767"/>
              <a:gd name="connsiteY33" fmla="*/ 715391 h 770602"/>
              <a:gd name="connsiteX34" fmla="*/ 336059 w 2425767"/>
              <a:gd name="connsiteY34" fmla="*/ 755549 h 770602"/>
              <a:gd name="connsiteX35" fmla="*/ 237292 w 2425767"/>
              <a:gd name="connsiteY35" fmla="*/ 771287 h 770602"/>
              <a:gd name="connsiteX36" fmla="*/ 1419786 w 2425767"/>
              <a:gd name="connsiteY36" fmla="*/ 692599 h 770602"/>
              <a:gd name="connsiteX37" fmla="*/ 1616235 w 2425767"/>
              <a:gd name="connsiteY37" fmla="*/ 771287 h 770602"/>
              <a:gd name="connsiteX38" fmla="*/ 1850672 w 2425767"/>
              <a:gd name="connsiteY38" fmla="*/ 636160 h 770602"/>
              <a:gd name="connsiteX39" fmla="*/ 1734539 w 2425767"/>
              <a:gd name="connsiteY39" fmla="*/ 569954 h 770602"/>
              <a:gd name="connsiteX40" fmla="*/ 1615150 w 2425767"/>
              <a:gd name="connsiteY40" fmla="*/ 638331 h 770602"/>
              <a:gd name="connsiteX41" fmla="*/ 1515297 w 2425767"/>
              <a:gd name="connsiteY41" fmla="*/ 598715 h 770602"/>
              <a:gd name="connsiteX42" fmla="*/ 1475682 w 2425767"/>
              <a:gd name="connsiteY42" fmla="*/ 497235 h 770602"/>
              <a:gd name="connsiteX43" fmla="*/ 1614607 w 2425767"/>
              <a:gd name="connsiteY43" fmla="*/ 355053 h 770602"/>
              <a:gd name="connsiteX44" fmla="*/ 1732911 w 2425767"/>
              <a:gd name="connsiteY44" fmla="*/ 424516 h 770602"/>
              <a:gd name="connsiteX45" fmla="*/ 1847958 w 2425767"/>
              <a:gd name="connsiteY45" fmla="*/ 357224 h 770602"/>
              <a:gd name="connsiteX46" fmla="*/ 1615692 w 2425767"/>
              <a:gd name="connsiteY46" fmla="*/ 223183 h 770602"/>
              <a:gd name="connsiteX47" fmla="*/ 1419243 w 2425767"/>
              <a:gd name="connsiteY47" fmla="*/ 301871 h 770602"/>
              <a:gd name="connsiteX48" fmla="*/ 1341640 w 2425767"/>
              <a:gd name="connsiteY48" fmla="*/ 497235 h 770602"/>
              <a:gd name="connsiteX49" fmla="*/ 1419786 w 2425767"/>
              <a:gd name="connsiteY49" fmla="*/ 692599 h 770602"/>
              <a:gd name="connsiteX50" fmla="*/ 1133795 w 2425767"/>
              <a:gd name="connsiteY50" fmla="*/ 757177 h 770602"/>
              <a:gd name="connsiteX51" fmla="*/ 1268379 w 2425767"/>
              <a:gd name="connsiteY51" fmla="*/ 757177 h 770602"/>
              <a:gd name="connsiteX52" fmla="*/ 1268379 w 2425767"/>
              <a:gd name="connsiteY52" fmla="*/ 476070 h 770602"/>
              <a:gd name="connsiteX53" fmla="*/ 1194575 w 2425767"/>
              <a:gd name="connsiteY53" fmla="*/ 296987 h 770602"/>
              <a:gd name="connsiteX54" fmla="*/ 1014406 w 2425767"/>
              <a:gd name="connsiteY54" fmla="*/ 223183 h 770602"/>
              <a:gd name="connsiteX55" fmla="*/ 834237 w 2425767"/>
              <a:gd name="connsiteY55" fmla="*/ 296987 h 770602"/>
              <a:gd name="connsiteX56" fmla="*/ 761518 w 2425767"/>
              <a:gd name="connsiteY56" fmla="*/ 476070 h 770602"/>
              <a:gd name="connsiteX57" fmla="*/ 761518 w 2425767"/>
              <a:gd name="connsiteY57" fmla="*/ 756635 h 770602"/>
              <a:gd name="connsiteX58" fmla="*/ 896102 w 2425767"/>
              <a:gd name="connsiteY58" fmla="*/ 756635 h 770602"/>
              <a:gd name="connsiteX59" fmla="*/ 896102 w 2425767"/>
              <a:gd name="connsiteY59" fmla="*/ 485296 h 770602"/>
              <a:gd name="connsiteX60" fmla="*/ 929206 w 2425767"/>
              <a:gd name="connsiteY60" fmla="*/ 389242 h 770602"/>
              <a:gd name="connsiteX61" fmla="*/ 1013863 w 2425767"/>
              <a:gd name="connsiteY61" fmla="*/ 355053 h 770602"/>
              <a:gd name="connsiteX62" fmla="*/ 1098521 w 2425767"/>
              <a:gd name="connsiteY62" fmla="*/ 389242 h 770602"/>
              <a:gd name="connsiteX63" fmla="*/ 1132710 w 2425767"/>
              <a:gd name="connsiteY63" fmla="*/ 485296 h 770602"/>
              <a:gd name="connsiteX64" fmla="*/ 1132710 w 2425767"/>
              <a:gd name="connsiteY64" fmla="*/ 757177 h 770602"/>
              <a:gd name="connsiteX65" fmla="*/ 2354819 w 2425767"/>
              <a:gd name="connsiteY65" fmla="*/ 296987 h 770602"/>
              <a:gd name="connsiteX66" fmla="*/ 2174650 w 2425767"/>
              <a:gd name="connsiteY66" fmla="*/ 223183 h 770602"/>
              <a:gd name="connsiteX67" fmla="*/ 2055803 w 2425767"/>
              <a:gd name="connsiteY67" fmla="*/ 263883 h 770602"/>
              <a:gd name="connsiteX68" fmla="*/ 2055803 w 2425767"/>
              <a:gd name="connsiteY68" fmla="*/ 2313 h 770602"/>
              <a:gd name="connsiteX69" fmla="*/ 1921762 w 2425767"/>
              <a:gd name="connsiteY69" fmla="*/ 79373 h 770602"/>
              <a:gd name="connsiteX70" fmla="*/ 1921762 w 2425767"/>
              <a:gd name="connsiteY70" fmla="*/ 756635 h 770602"/>
              <a:gd name="connsiteX71" fmla="*/ 2056346 w 2425767"/>
              <a:gd name="connsiteY71" fmla="*/ 756635 h 770602"/>
              <a:gd name="connsiteX72" fmla="*/ 2056346 w 2425767"/>
              <a:gd name="connsiteY72" fmla="*/ 485296 h 770602"/>
              <a:gd name="connsiteX73" fmla="*/ 2089450 w 2425767"/>
              <a:gd name="connsiteY73" fmla="*/ 389242 h 770602"/>
              <a:gd name="connsiteX74" fmla="*/ 2174107 w 2425767"/>
              <a:gd name="connsiteY74" fmla="*/ 355053 h 770602"/>
              <a:gd name="connsiteX75" fmla="*/ 2258765 w 2425767"/>
              <a:gd name="connsiteY75" fmla="*/ 389242 h 770602"/>
              <a:gd name="connsiteX76" fmla="*/ 2292954 w 2425767"/>
              <a:gd name="connsiteY76" fmla="*/ 485296 h 770602"/>
              <a:gd name="connsiteX77" fmla="*/ 2292954 w 2425767"/>
              <a:gd name="connsiteY77" fmla="*/ 756635 h 770602"/>
              <a:gd name="connsiteX78" fmla="*/ 2427537 w 2425767"/>
              <a:gd name="connsiteY78" fmla="*/ 756635 h 770602"/>
              <a:gd name="connsiteX79" fmla="*/ 2427537 w 2425767"/>
              <a:gd name="connsiteY79" fmla="*/ 476070 h 770602"/>
              <a:gd name="connsiteX80" fmla="*/ 2354819 w 2425767"/>
              <a:gd name="connsiteY80" fmla="*/ 296987 h 770602"/>
              <a:gd name="connsiteX81" fmla="*/ 536307 w 2425767"/>
              <a:gd name="connsiteY81" fmla="*/ 300785 h 770602"/>
              <a:gd name="connsiteX82" fmla="*/ 536307 w 2425767"/>
              <a:gd name="connsiteY82" fmla="*/ 757177 h 770602"/>
              <a:gd name="connsiteX83" fmla="*/ 669806 w 2425767"/>
              <a:gd name="connsiteY83" fmla="*/ 757177 h 770602"/>
              <a:gd name="connsiteX84" fmla="*/ 669806 w 2425767"/>
              <a:gd name="connsiteY84" fmla="*/ 223183 h 770602"/>
              <a:gd name="connsiteX85" fmla="*/ 536307 w 2425767"/>
              <a:gd name="connsiteY85" fmla="*/ 300785 h 770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2425767" h="770602">
                <a:moveTo>
                  <a:pt x="237292" y="771287"/>
                </a:moveTo>
                <a:cubicBezTo>
                  <a:pt x="174341" y="771287"/>
                  <a:pt x="123330" y="759891"/>
                  <a:pt x="83172" y="737641"/>
                </a:cubicBezTo>
                <a:cubicBezTo>
                  <a:pt x="49526" y="718647"/>
                  <a:pt x="22392" y="692599"/>
                  <a:pt x="2313" y="659495"/>
                </a:cubicBezTo>
                <a:lnTo>
                  <a:pt x="121702" y="590575"/>
                </a:lnTo>
                <a:cubicBezTo>
                  <a:pt x="145037" y="637788"/>
                  <a:pt x="185195" y="661666"/>
                  <a:pt x="242176" y="661666"/>
                </a:cubicBezTo>
                <a:cubicBezTo>
                  <a:pt x="269310" y="661666"/>
                  <a:pt x="289932" y="656239"/>
                  <a:pt x="304584" y="644843"/>
                </a:cubicBezTo>
                <a:cubicBezTo>
                  <a:pt x="318694" y="633447"/>
                  <a:pt x="325748" y="619880"/>
                  <a:pt x="325748" y="604685"/>
                </a:cubicBezTo>
                <a:cubicBezTo>
                  <a:pt x="325748" y="594917"/>
                  <a:pt x="322492" y="586777"/>
                  <a:pt x="315980" y="580807"/>
                </a:cubicBezTo>
                <a:cubicBezTo>
                  <a:pt x="309468" y="574838"/>
                  <a:pt x="300785" y="569411"/>
                  <a:pt x="289389" y="565069"/>
                </a:cubicBezTo>
                <a:cubicBezTo>
                  <a:pt x="277993" y="560728"/>
                  <a:pt x="264969" y="556929"/>
                  <a:pt x="249774" y="553673"/>
                </a:cubicBezTo>
                <a:cubicBezTo>
                  <a:pt x="235121" y="550417"/>
                  <a:pt x="218841" y="547161"/>
                  <a:pt x="202018" y="543905"/>
                </a:cubicBezTo>
                <a:cubicBezTo>
                  <a:pt x="179768" y="539564"/>
                  <a:pt x="162403" y="534137"/>
                  <a:pt x="140153" y="527625"/>
                </a:cubicBezTo>
                <a:cubicBezTo>
                  <a:pt x="117903" y="521113"/>
                  <a:pt x="99995" y="511887"/>
                  <a:pt x="82086" y="500491"/>
                </a:cubicBezTo>
                <a:cubicBezTo>
                  <a:pt x="64178" y="489095"/>
                  <a:pt x="50068" y="473900"/>
                  <a:pt x="38672" y="456534"/>
                </a:cubicBezTo>
                <a:cubicBezTo>
                  <a:pt x="27819" y="438626"/>
                  <a:pt x="22392" y="415833"/>
                  <a:pt x="22392" y="388157"/>
                </a:cubicBezTo>
                <a:cubicBezTo>
                  <a:pt x="22392" y="365907"/>
                  <a:pt x="27819" y="345285"/>
                  <a:pt x="38129" y="325206"/>
                </a:cubicBezTo>
                <a:cubicBezTo>
                  <a:pt x="48440" y="305127"/>
                  <a:pt x="63093" y="287761"/>
                  <a:pt x="82086" y="272566"/>
                </a:cubicBezTo>
                <a:cubicBezTo>
                  <a:pt x="101080" y="257914"/>
                  <a:pt x="121159" y="245975"/>
                  <a:pt x="147208" y="237292"/>
                </a:cubicBezTo>
                <a:cubicBezTo>
                  <a:pt x="173256" y="228609"/>
                  <a:pt x="198219" y="224268"/>
                  <a:pt x="230237" y="224268"/>
                </a:cubicBezTo>
                <a:cubicBezTo>
                  <a:pt x="286133" y="224268"/>
                  <a:pt x="331175" y="234036"/>
                  <a:pt x="366449" y="254115"/>
                </a:cubicBezTo>
                <a:cubicBezTo>
                  <a:pt x="396296" y="270938"/>
                  <a:pt x="422345" y="293188"/>
                  <a:pt x="444595" y="321407"/>
                </a:cubicBezTo>
                <a:lnTo>
                  <a:pt x="333346" y="384900"/>
                </a:lnTo>
                <a:cubicBezTo>
                  <a:pt x="322492" y="367535"/>
                  <a:pt x="308383" y="353968"/>
                  <a:pt x="292102" y="344200"/>
                </a:cubicBezTo>
                <a:cubicBezTo>
                  <a:pt x="275822" y="334431"/>
                  <a:pt x="255200" y="329547"/>
                  <a:pt x="230237" y="329547"/>
                </a:cubicBezTo>
                <a:cubicBezTo>
                  <a:pt x="203646" y="329547"/>
                  <a:pt x="188994" y="334431"/>
                  <a:pt x="175969" y="343657"/>
                </a:cubicBezTo>
                <a:cubicBezTo>
                  <a:pt x="163488" y="352882"/>
                  <a:pt x="156976" y="365364"/>
                  <a:pt x="156976" y="380016"/>
                </a:cubicBezTo>
                <a:cubicBezTo>
                  <a:pt x="156976" y="396839"/>
                  <a:pt x="167287" y="408778"/>
                  <a:pt x="187908" y="415290"/>
                </a:cubicBezTo>
                <a:cubicBezTo>
                  <a:pt x="208530" y="422345"/>
                  <a:pt x="233493" y="429943"/>
                  <a:pt x="271481" y="438083"/>
                </a:cubicBezTo>
                <a:cubicBezTo>
                  <a:pt x="293730" y="442424"/>
                  <a:pt x="315438" y="448394"/>
                  <a:pt x="338230" y="454363"/>
                </a:cubicBezTo>
                <a:cubicBezTo>
                  <a:pt x="360480" y="460875"/>
                  <a:pt x="381101" y="470101"/>
                  <a:pt x="399552" y="482040"/>
                </a:cubicBezTo>
                <a:cubicBezTo>
                  <a:pt x="418004" y="493979"/>
                  <a:pt x="433199" y="509174"/>
                  <a:pt x="444595" y="528167"/>
                </a:cubicBezTo>
                <a:cubicBezTo>
                  <a:pt x="455991" y="547161"/>
                  <a:pt x="461960" y="570496"/>
                  <a:pt x="461960" y="598173"/>
                </a:cubicBezTo>
                <a:cubicBezTo>
                  <a:pt x="461960" y="618795"/>
                  <a:pt x="457619" y="639416"/>
                  <a:pt x="448393" y="660038"/>
                </a:cubicBezTo>
                <a:cubicBezTo>
                  <a:pt x="439168" y="680660"/>
                  <a:pt x="425601" y="699111"/>
                  <a:pt x="406607" y="715391"/>
                </a:cubicBezTo>
                <a:cubicBezTo>
                  <a:pt x="387614" y="731671"/>
                  <a:pt x="364278" y="745238"/>
                  <a:pt x="336059" y="755549"/>
                </a:cubicBezTo>
                <a:cubicBezTo>
                  <a:pt x="308383" y="766403"/>
                  <a:pt x="275279" y="771287"/>
                  <a:pt x="237292" y="771287"/>
                </a:cubicBezTo>
                <a:moveTo>
                  <a:pt x="1419786" y="692599"/>
                </a:moveTo>
                <a:cubicBezTo>
                  <a:pt x="1472968" y="745781"/>
                  <a:pt x="1538089" y="771287"/>
                  <a:pt x="1616235" y="771287"/>
                </a:cubicBezTo>
                <a:cubicBezTo>
                  <a:pt x="1717173" y="771287"/>
                  <a:pt x="1805087" y="718105"/>
                  <a:pt x="1850672" y="636160"/>
                </a:cubicBezTo>
                <a:lnTo>
                  <a:pt x="1734539" y="569954"/>
                </a:lnTo>
                <a:cubicBezTo>
                  <a:pt x="1713917" y="612282"/>
                  <a:pt x="1668875" y="638331"/>
                  <a:pt x="1615150" y="638331"/>
                </a:cubicBezTo>
                <a:cubicBezTo>
                  <a:pt x="1574449" y="638331"/>
                  <a:pt x="1541346" y="624764"/>
                  <a:pt x="1515297" y="598715"/>
                </a:cubicBezTo>
                <a:cubicBezTo>
                  <a:pt x="1489248" y="571582"/>
                  <a:pt x="1475682" y="537393"/>
                  <a:pt x="1475682" y="497235"/>
                </a:cubicBezTo>
                <a:cubicBezTo>
                  <a:pt x="1475682" y="414205"/>
                  <a:pt x="1534833" y="355053"/>
                  <a:pt x="1614607" y="355053"/>
                </a:cubicBezTo>
                <a:cubicBezTo>
                  <a:pt x="1667789" y="355053"/>
                  <a:pt x="1712289" y="382187"/>
                  <a:pt x="1732911" y="424516"/>
                </a:cubicBezTo>
                <a:lnTo>
                  <a:pt x="1847958" y="357224"/>
                </a:lnTo>
                <a:cubicBezTo>
                  <a:pt x="1805629" y="275280"/>
                  <a:pt x="1716087" y="223183"/>
                  <a:pt x="1615692" y="223183"/>
                </a:cubicBezTo>
                <a:cubicBezTo>
                  <a:pt x="1538089" y="223183"/>
                  <a:pt x="1472425" y="249231"/>
                  <a:pt x="1419243" y="301871"/>
                </a:cubicBezTo>
                <a:cubicBezTo>
                  <a:pt x="1367146" y="355053"/>
                  <a:pt x="1341640" y="419089"/>
                  <a:pt x="1341640" y="497235"/>
                </a:cubicBezTo>
                <a:cubicBezTo>
                  <a:pt x="1341640" y="575380"/>
                  <a:pt x="1367689" y="639416"/>
                  <a:pt x="1419786" y="692599"/>
                </a:cubicBezTo>
                <a:moveTo>
                  <a:pt x="1133795" y="757177"/>
                </a:moveTo>
                <a:lnTo>
                  <a:pt x="1268379" y="757177"/>
                </a:lnTo>
                <a:lnTo>
                  <a:pt x="1268379" y="476070"/>
                </a:lnTo>
                <a:cubicBezTo>
                  <a:pt x="1268379" y="404980"/>
                  <a:pt x="1243416" y="345828"/>
                  <a:pt x="1194575" y="296987"/>
                </a:cubicBezTo>
                <a:cubicBezTo>
                  <a:pt x="1145734" y="248146"/>
                  <a:pt x="1085497" y="223183"/>
                  <a:pt x="1014406" y="223183"/>
                </a:cubicBezTo>
                <a:cubicBezTo>
                  <a:pt x="943315" y="223183"/>
                  <a:pt x="883078" y="248146"/>
                  <a:pt x="834237" y="296987"/>
                </a:cubicBezTo>
                <a:cubicBezTo>
                  <a:pt x="785396" y="345828"/>
                  <a:pt x="761518" y="404980"/>
                  <a:pt x="761518" y="476070"/>
                </a:cubicBezTo>
                <a:lnTo>
                  <a:pt x="761518" y="756635"/>
                </a:lnTo>
                <a:lnTo>
                  <a:pt x="896102" y="756635"/>
                </a:lnTo>
                <a:lnTo>
                  <a:pt x="896102" y="485296"/>
                </a:lnTo>
                <a:cubicBezTo>
                  <a:pt x="896102" y="450564"/>
                  <a:pt x="907498" y="412034"/>
                  <a:pt x="929206" y="389242"/>
                </a:cubicBezTo>
                <a:cubicBezTo>
                  <a:pt x="951998" y="366449"/>
                  <a:pt x="979675" y="355053"/>
                  <a:pt x="1013863" y="355053"/>
                </a:cubicBezTo>
                <a:cubicBezTo>
                  <a:pt x="1048052" y="355053"/>
                  <a:pt x="1075728" y="366449"/>
                  <a:pt x="1098521" y="389242"/>
                </a:cubicBezTo>
                <a:cubicBezTo>
                  <a:pt x="1121313" y="412034"/>
                  <a:pt x="1132710" y="450022"/>
                  <a:pt x="1132710" y="485296"/>
                </a:cubicBezTo>
                <a:lnTo>
                  <a:pt x="1132710" y="757177"/>
                </a:lnTo>
                <a:close/>
                <a:moveTo>
                  <a:pt x="2354819" y="296987"/>
                </a:moveTo>
                <a:cubicBezTo>
                  <a:pt x="2305978" y="248146"/>
                  <a:pt x="2245741" y="223183"/>
                  <a:pt x="2174650" y="223183"/>
                </a:cubicBezTo>
                <a:cubicBezTo>
                  <a:pt x="2130693" y="223183"/>
                  <a:pt x="2080767" y="240006"/>
                  <a:pt x="2055803" y="263883"/>
                </a:cubicBezTo>
                <a:lnTo>
                  <a:pt x="2055803" y="2313"/>
                </a:lnTo>
                <a:lnTo>
                  <a:pt x="1921762" y="79373"/>
                </a:lnTo>
                <a:lnTo>
                  <a:pt x="1921762" y="756635"/>
                </a:lnTo>
                <a:lnTo>
                  <a:pt x="2056346" y="756635"/>
                </a:lnTo>
                <a:lnTo>
                  <a:pt x="2056346" y="485296"/>
                </a:lnTo>
                <a:cubicBezTo>
                  <a:pt x="2056346" y="450564"/>
                  <a:pt x="2067742" y="412034"/>
                  <a:pt x="2089450" y="389242"/>
                </a:cubicBezTo>
                <a:cubicBezTo>
                  <a:pt x="2112242" y="366449"/>
                  <a:pt x="2139919" y="355053"/>
                  <a:pt x="2174107" y="355053"/>
                </a:cubicBezTo>
                <a:cubicBezTo>
                  <a:pt x="2208296" y="355053"/>
                  <a:pt x="2235972" y="366449"/>
                  <a:pt x="2258765" y="389242"/>
                </a:cubicBezTo>
                <a:cubicBezTo>
                  <a:pt x="2281557" y="412034"/>
                  <a:pt x="2292954" y="450022"/>
                  <a:pt x="2292954" y="485296"/>
                </a:cubicBezTo>
                <a:lnTo>
                  <a:pt x="2292954" y="756635"/>
                </a:lnTo>
                <a:lnTo>
                  <a:pt x="2427537" y="756635"/>
                </a:lnTo>
                <a:lnTo>
                  <a:pt x="2427537" y="476070"/>
                </a:lnTo>
                <a:cubicBezTo>
                  <a:pt x="2428623" y="405522"/>
                  <a:pt x="2403660" y="345828"/>
                  <a:pt x="2354819" y="296987"/>
                </a:cubicBezTo>
                <a:moveTo>
                  <a:pt x="536307" y="300785"/>
                </a:moveTo>
                <a:lnTo>
                  <a:pt x="536307" y="757177"/>
                </a:lnTo>
                <a:lnTo>
                  <a:pt x="669806" y="757177"/>
                </a:lnTo>
                <a:lnTo>
                  <a:pt x="669806" y="223183"/>
                </a:lnTo>
                <a:lnTo>
                  <a:pt x="536307" y="300785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40000"/>
            </a:schemeClr>
          </a:solidFill>
          <a:ln w="541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30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73E8072-FAF1-44BA-90F4-26F6B22C2B1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9" y="1551085"/>
            <a:ext cx="608012" cy="317951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604BBF-84F9-428A-8EAE-EB5FE2B7416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194" y="6519125"/>
            <a:ext cx="542188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Atlas Grotesk Light" pitchFamily="50" charset="0"/>
              </a:defRPr>
            </a:lvl1pPr>
          </a:lstStyle>
          <a:p>
            <a:endParaRPr lang="en-GB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3C2D1D1C-8329-4A3A-9B7C-F0BF2C625A9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5225" y="6491093"/>
            <a:ext cx="350838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7B5B176D-AD98-464F-9F48-2D39BCB07DB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1130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B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18337-E685-4AD3-9F91-77D7D26FE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itle can span up to 2 lines</a:t>
            </a:r>
          </a:p>
        </p:txBody>
      </p:sp>
      <p:sp>
        <p:nvSpPr>
          <p:cNvPr id="7" name="Graphic 5">
            <a:extLst>
              <a:ext uri="{FF2B5EF4-FFF2-40B4-BE49-F238E27FC236}">
                <a16:creationId xmlns:a16="http://schemas.microsoft.com/office/drawing/2014/main" id="{5DAE4771-85EE-432C-82A4-8F4FA200626D}"/>
              </a:ext>
            </a:extLst>
          </p:cNvPr>
          <p:cNvSpPr/>
          <p:nvPr/>
        </p:nvSpPr>
        <p:spPr>
          <a:xfrm>
            <a:off x="9254041" y="5591617"/>
            <a:ext cx="2425767" cy="770602"/>
          </a:xfrm>
          <a:custGeom>
            <a:avLst/>
            <a:gdLst>
              <a:gd name="connsiteX0" fmla="*/ 237292 w 2425767"/>
              <a:gd name="connsiteY0" fmla="*/ 771287 h 770602"/>
              <a:gd name="connsiteX1" fmla="*/ 83172 w 2425767"/>
              <a:gd name="connsiteY1" fmla="*/ 737641 h 770602"/>
              <a:gd name="connsiteX2" fmla="*/ 2313 w 2425767"/>
              <a:gd name="connsiteY2" fmla="*/ 659495 h 770602"/>
              <a:gd name="connsiteX3" fmla="*/ 121702 w 2425767"/>
              <a:gd name="connsiteY3" fmla="*/ 590575 h 770602"/>
              <a:gd name="connsiteX4" fmla="*/ 242176 w 2425767"/>
              <a:gd name="connsiteY4" fmla="*/ 661666 h 770602"/>
              <a:gd name="connsiteX5" fmla="*/ 304584 w 2425767"/>
              <a:gd name="connsiteY5" fmla="*/ 644843 h 770602"/>
              <a:gd name="connsiteX6" fmla="*/ 325748 w 2425767"/>
              <a:gd name="connsiteY6" fmla="*/ 604685 h 770602"/>
              <a:gd name="connsiteX7" fmla="*/ 315980 w 2425767"/>
              <a:gd name="connsiteY7" fmla="*/ 580807 h 770602"/>
              <a:gd name="connsiteX8" fmla="*/ 289389 w 2425767"/>
              <a:gd name="connsiteY8" fmla="*/ 565069 h 770602"/>
              <a:gd name="connsiteX9" fmla="*/ 249774 w 2425767"/>
              <a:gd name="connsiteY9" fmla="*/ 553673 h 770602"/>
              <a:gd name="connsiteX10" fmla="*/ 202018 w 2425767"/>
              <a:gd name="connsiteY10" fmla="*/ 543905 h 770602"/>
              <a:gd name="connsiteX11" fmla="*/ 140153 w 2425767"/>
              <a:gd name="connsiteY11" fmla="*/ 527625 h 770602"/>
              <a:gd name="connsiteX12" fmla="*/ 82086 w 2425767"/>
              <a:gd name="connsiteY12" fmla="*/ 500491 h 770602"/>
              <a:gd name="connsiteX13" fmla="*/ 38672 w 2425767"/>
              <a:gd name="connsiteY13" fmla="*/ 456534 h 770602"/>
              <a:gd name="connsiteX14" fmla="*/ 22392 w 2425767"/>
              <a:gd name="connsiteY14" fmla="*/ 388157 h 770602"/>
              <a:gd name="connsiteX15" fmla="*/ 38129 w 2425767"/>
              <a:gd name="connsiteY15" fmla="*/ 325206 h 770602"/>
              <a:gd name="connsiteX16" fmla="*/ 82086 w 2425767"/>
              <a:gd name="connsiteY16" fmla="*/ 272566 h 770602"/>
              <a:gd name="connsiteX17" fmla="*/ 147208 w 2425767"/>
              <a:gd name="connsiteY17" fmla="*/ 237292 h 770602"/>
              <a:gd name="connsiteX18" fmla="*/ 230237 w 2425767"/>
              <a:gd name="connsiteY18" fmla="*/ 224268 h 770602"/>
              <a:gd name="connsiteX19" fmla="*/ 366449 w 2425767"/>
              <a:gd name="connsiteY19" fmla="*/ 254115 h 770602"/>
              <a:gd name="connsiteX20" fmla="*/ 444595 w 2425767"/>
              <a:gd name="connsiteY20" fmla="*/ 321407 h 770602"/>
              <a:gd name="connsiteX21" fmla="*/ 333346 w 2425767"/>
              <a:gd name="connsiteY21" fmla="*/ 384900 h 770602"/>
              <a:gd name="connsiteX22" fmla="*/ 292102 w 2425767"/>
              <a:gd name="connsiteY22" fmla="*/ 344200 h 770602"/>
              <a:gd name="connsiteX23" fmla="*/ 230237 w 2425767"/>
              <a:gd name="connsiteY23" fmla="*/ 329547 h 770602"/>
              <a:gd name="connsiteX24" fmla="*/ 175969 w 2425767"/>
              <a:gd name="connsiteY24" fmla="*/ 343657 h 770602"/>
              <a:gd name="connsiteX25" fmla="*/ 156976 w 2425767"/>
              <a:gd name="connsiteY25" fmla="*/ 380016 h 770602"/>
              <a:gd name="connsiteX26" fmla="*/ 187908 w 2425767"/>
              <a:gd name="connsiteY26" fmla="*/ 415290 h 770602"/>
              <a:gd name="connsiteX27" fmla="*/ 271481 w 2425767"/>
              <a:gd name="connsiteY27" fmla="*/ 438083 h 770602"/>
              <a:gd name="connsiteX28" fmla="*/ 338230 w 2425767"/>
              <a:gd name="connsiteY28" fmla="*/ 454363 h 770602"/>
              <a:gd name="connsiteX29" fmla="*/ 399552 w 2425767"/>
              <a:gd name="connsiteY29" fmla="*/ 482040 h 770602"/>
              <a:gd name="connsiteX30" fmla="*/ 444595 w 2425767"/>
              <a:gd name="connsiteY30" fmla="*/ 528167 h 770602"/>
              <a:gd name="connsiteX31" fmla="*/ 461960 w 2425767"/>
              <a:gd name="connsiteY31" fmla="*/ 598173 h 770602"/>
              <a:gd name="connsiteX32" fmla="*/ 448393 w 2425767"/>
              <a:gd name="connsiteY32" fmla="*/ 660038 h 770602"/>
              <a:gd name="connsiteX33" fmla="*/ 406607 w 2425767"/>
              <a:gd name="connsiteY33" fmla="*/ 715391 h 770602"/>
              <a:gd name="connsiteX34" fmla="*/ 336059 w 2425767"/>
              <a:gd name="connsiteY34" fmla="*/ 755549 h 770602"/>
              <a:gd name="connsiteX35" fmla="*/ 237292 w 2425767"/>
              <a:gd name="connsiteY35" fmla="*/ 771287 h 770602"/>
              <a:gd name="connsiteX36" fmla="*/ 1419786 w 2425767"/>
              <a:gd name="connsiteY36" fmla="*/ 692599 h 770602"/>
              <a:gd name="connsiteX37" fmla="*/ 1616235 w 2425767"/>
              <a:gd name="connsiteY37" fmla="*/ 771287 h 770602"/>
              <a:gd name="connsiteX38" fmla="*/ 1850672 w 2425767"/>
              <a:gd name="connsiteY38" fmla="*/ 636160 h 770602"/>
              <a:gd name="connsiteX39" fmla="*/ 1734539 w 2425767"/>
              <a:gd name="connsiteY39" fmla="*/ 569954 h 770602"/>
              <a:gd name="connsiteX40" fmla="*/ 1615150 w 2425767"/>
              <a:gd name="connsiteY40" fmla="*/ 638331 h 770602"/>
              <a:gd name="connsiteX41" fmla="*/ 1515297 w 2425767"/>
              <a:gd name="connsiteY41" fmla="*/ 598715 h 770602"/>
              <a:gd name="connsiteX42" fmla="*/ 1475682 w 2425767"/>
              <a:gd name="connsiteY42" fmla="*/ 497235 h 770602"/>
              <a:gd name="connsiteX43" fmla="*/ 1614607 w 2425767"/>
              <a:gd name="connsiteY43" fmla="*/ 355053 h 770602"/>
              <a:gd name="connsiteX44" fmla="*/ 1732911 w 2425767"/>
              <a:gd name="connsiteY44" fmla="*/ 424516 h 770602"/>
              <a:gd name="connsiteX45" fmla="*/ 1847958 w 2425767"/>
              <a:gd name="connsiteY45" fmla="*/ 357224 h 770602"/>
              <a:gd name="connsiteX46" fmla="*/ 1615692 w 2425767"/>
              <a:gd name="connsiteY46" fmla="*/ 223183 h 770602"/>
              <a:gd name="connsiteX47" fmla="*/ 1419243 w 2425767"/>
              <a:gd name="connsiteY47" fmla="*/ 301871 h 770602"/>
              <a:gd name="connsiteX48" fmla="*/ 1341640 w 2425767"/>
              <a:gd name="connsiteY48" fmla="*/ 497235 h 770602"/>
              <a:gd name="connsiteX49" fmla="*/ 1419786 w 2425767"/>
              <a:gd name="connsiteY49" fmla="*/ 692599 h 770602"/>
              <a:gd name="connsiteX50" fmla="*/ 1133795 w 2425767"/>
              <a:gd name="connsiteY50" fmla="*/ 757177 h 770602"/>
              <a:gd name="connsiteX51" fmla="*/ 1268379 w 2425767"/>
              <a:gd name="connsiteY51" fmla="*/ 757177 h 770602"/>
              <a:gd name="connsiteX52" fmla="*/ 1268379 w 2425767"/>
              <a:gd name="connsiteY52" fmla="*/ 476070 h 770602"/>
              <a:gd name="connsiteX53" fmla="*/ 1194575 w 2425767"/>
              <a:gd name="connsiteY53" fmla="*/ 296987 h 770602"/>
              <a:gd name="connsiteX54" fmla="*/ 1014406 w 2425767"/>
              <a:gd name="connsiteY54" fmla="*/ 223183 h 770602"/>
              <a:gd name="connsiteX55" fmla="*/ 834237 w 2425767"/>
              <a:gd name="connsiteY55" fmla="*/ 296987 h 770602"/>
              <a:gd name="connsiteX56" fmla="*/ 761518 w 2425767"/>
              <a:gd name="connsiteY56" fmla="*/ 476070 h 770602"/>
              <a:gd name="connsiteX57" fmla="*/ 761518 w 2425767"/>
              <a:gd name="connsiteY57" fmla="*/ 756635 h 770602"/>
              <a:gd name="connsiteX58" fmla="*/ 896102 w 2425767"/>
              <a:gd name="connsiteY58" fmla="*/ 756635 h 770602"/>
              <a:gd name="connsiteX59" fmla="*/ 896102 w 2425767"/>
              <a:gd name="connsiteY59" fmla="*/ 485296 h 770602"/>
              <a:gd name="connsiteX60" fmla="*/ 929206 w 2425767"/>
              <a:gd name="connsiteY60" fmla="*/ 389242 h 770602"/>
              <a:gd name="connsiteX61" fmla="*/ 1013863 w 2425767"/>
              <a:gd name="connsiteY61" fmla="*/ 355053 h 770602"/>
              <a:gd name="connsiteX62" fmla="*/ 1098521 w 2425767"/>
              <a:gd name="connsiteY62" fmla="*/ 389242 h 770602"/>
              <a:gd name="connsiteX63" fmla="*/ 1132710 w 2425767"/>
              <a:gd name="connsiteY63" fmla="*/ 485296 h 770602"/>
              <a:gd name="connsiteX64" fmla="*/ 1132710 w 2425767"/>
              <a:gd name="connsiteY64" fmla="*/ 757177 h 770602"/>
              <a:gd name="connsiteX65" fmla="*/ 2354819 w 2425767"/>
              <a:gd name="connsiteY65" fmla="*/ 296987 h 770602"/>
              <a:gd name="connsiteX66" fmla="*/ 2174650 w 2425767"/>
              <a:gd name="connsiteY66" fmla="*/ 223183 h 770602"/>
              <a:gd name="connsiteX67" fmla="*/ 2055803 w 2425767"/>
              <a:gd name="connsiteY67" fmla="*/ 263883 h 770602"/>
              <a:gd name="connsiteX68" fmla="*/ 2055803 w 2425767"/>
              <a:gd name="connsiteY68" fmla="*/ 2313 h 770602"/>
              <a:gd name="connsiteX69" fmla="*/ 1921762 w 2425767"/>
              <a:gd name="connsiteY69" fmla="*/ 79373 h 770602"/>
              <a:gd name="connsiteX70" fmla="*/ 1921762 w 2425767"/>
              <a:gd name="connsiteY70" fmla="*/ 756635 h 770602"/>
              <a:gd name="connsiteX71" fmla="*/ 2056346 w 2425767"/>
              <a:gd name="connsiteY71" fmla="*/ 756635 h 770602"/>
              <a:gd name="connsiteX72" fmla="*/ 2056346 w 2425767"/>
              <a:gd name="connsiteY72" fmla="*/ 485296 h 770602"/>
              <a:gd name="connsiteX73" fmla="*/ 2089450 w 2425767"/>
              <a:gd name="connsiteY73" fmla="*/ 389242 h 770602"/>
              <a:gd name="connsiteX74" fmla="*/ 2174107 w 2425767"/>
              <a:gd name="connsiteY74" fmla="*/ 355053 h 770602"/>
              <a:gd name="connsiteX75" fmla="*/ 2258765 w 2425767"/>
              <a:gd name="connsiteY75" fmla="*/ 389242 h 770602"/>
              <a:gd name="connsiteX76" fmla="*/ 2292954 w 2425767"/>
              <a:gd name="connsiteY76" fmla="*/ 485296 h 770602"/>
              <a:gd name="connsiteX77" fmla="*/ 2292954 w 2425767"/>
              <a:gd name="connsiteY77" fmla="*/ 756635 h 770602"/>
              <a:gd name="connsiteX78" fmla="*/ 2427537 w 2425767"/>
              <a:gd name="connsiteY78" fmla="*/ 756635 h 770602"/>
              <a:gd name="connsiteX79" fmla="*/ 2427537 w 2425767"/>
              <a:gd name="connsiteY79" fmla="*/ 476070 h 770602"/>
              <a:gd name="connsiteX80" fmla="*/ 2354819 w 2425767"/>
              <a:gd name="connsiteY80" fmla="*/ 296987 h 770602"/>
              <a:gd name="connsiteX81" fmla="*/ 536307 w 2425767"/>
              <a:gd name="connsiteY81" fmla="*/ 300785 h 770602"/>
              <a:gd name="connsiteX82" fmla="*/ 536307 w 2425767"/>
              <a:gd name="connsiteY82" fmla="*/ 757177 h 770602"/>
              <a:gd name="connsiteX83" fmla="*/ 669806 w 2425767"/>
              <a:gd name="connsiteY83" fmla="*/ 757177 h 770602"/>
              <a:gd name="connsiteX84" fmla="*/ 669806 w 2425767"/>
              <a:gd name="connsiteY84" fmla="*/ 223183 h 770602"/>
              <a:gd name="connsiteX85" fmla="*/ 536307 w 2425767"/>
              <a:gd name="connsiteY85" fmla="*/ 300785 h 770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2425767" h="770602">
                <a:moveTo>
                  <a:pt x="237292" y="771287"/>
                </a:moveTo>
                <a:cubicBezTo>
                  <a:pt x="174341" y="771287"/>
                  <a:pt x="123330" y="759891"/>
                  <a:pt x="83172" y="737641"/>
                </a:cubicBezTo>
                <a:cubicBezTo>
                  <a:pt x="49526" y="718647"/>
                  <a:pt x="22392" y="692599"/>
                  <a:pt x="2313" y="659495"/>
                </a:cubicBezTo>
                <a:lnTo>
                  <a:pt x="121702" y="590575"/>
                </a:lnTo>
                <a:cubicBezTo>
                  <a:pt x="145037" y="637788"/>
                  <a:pt x="185195" y="661666"/>
                  <a:pt x="242176" y="661666"/>
                </a:cubicBezTo>
                <a:cubicBezTo>
                  <a:pt x="269310" y="661666"/>
                  <a:pt x="289932" y="656239"/>
                  <a:pt x="304584" y="644843"/>
                </a:cubicBezTo>
                <a:cubicBezTo>
                  <a:pt x="318694" y="633447"/>
                  <a:pt x="325748" y="619880"/>
                  <a:pt x="325748" y="604685"/>
                </a:cubicBezTo>
                <a:cubicBezTo>
                  <a:pt x="325748" y="594917"/>
                  <a:pt x="322492" y="586777"/>
                  <a:pt x="315980" y="580807"/>
                </a:cubicBezTo>
                <a:cubicBezTo>
                  <a:pt x="309468" y="574838"/>
                  <a:pt x="300785" y="569411"/>
                  <a:pt x="289389" y="565069"/>
                </a:cubicBezTo>
                <a:cubicBezTo>
                  <a:pt x="277993" y="560728"/>
                  <a:pt x="264969" y="556929"/>
                  <a:pt x="249774" y="553673"/>
                </a:cubicBezTo>
                <a:cubicBezTo>
                  <a:pt x="235121" y="550417"/>
                  <a:pt x="218841" y="547161"/>
                  <a:pt x="202018" y="543905"/>
                </a:cubicBezTo>
                <a:cubicBezTo>
                  <a:pt x="179768" y="539564"/>
                  <a:pt x="162403" y="534137"/>
                  <a:pt x="140153" y="527625"/>
                </a:cubicBezTo>
                <a:cubicBezTo>
                  <a:pt x="117903" y="521113"/>
                  <a:pt x="99995" y="511887"/>
                  <a:pt x="82086" y="500491"/>
                </a:cubicBezTo>
                <a:cubicBezTo>
                  <a:pt x="64178" y="489095"/>
                  <a:pt x="50068" y="473900"/>
                  <a:pt x="38672" y="456534"/>
                </a:cubicBezTo>
                <a:cubicBezTo>
                  <a:pt x="27819" y="438626"/>
                  <a:pt x="22392" y="415833"/>
                  <a:pt x="22392" y="388157"/>
                </a:cubicBezTo>
                <a:cubicBezTo>
                  <a:pt x="22392" y="365907"/>
                  <a:pt x="27819" y="345285"/>
                  <a:pt x="38129" y="325206"/>
                </a:cubicBezTo>
                <a:cubicBezTo>
                  <a:pt x="48440" y="305127"/>
                  <a:pt x="63093" y="287761"/>
                  <a:pt x="82086" y="272566"/>
                </a:cubicBezTo>
                <a:cubicBezTo>
                  <a:pt x="101080" y="257914"/>
                  <a:pt x="121159" y="245975"/>
                  <a:pt x="147208" y="237292"/>
                </a:cubicBezTo>
                <a:cubicBezTo>
                  <a:pt x="173256" y="228609"/>
                  <a:pt x="198219" y="224268"/>
                  <a:pt x="230237" y="224268"/>
                </a:cubicBezTo>
                <a:cubicBezTo>
                  <a:pt x="286133" y="224268"/>
                  <a:pt x="331175" y="234036"/>
                  <a:pt x="366449" y="254115"/>
                </a:cubicBezTo>
                <a:cubicBezTo>
                  <a:pt x="396296" y="270938"/>
                  <a:pt x="422345" y="293188"/>
                  <a:pt x="444595" y="321407"/>
                </a:cubicBezTo>
                <a:lnTo>
                  <a:pt x="333346" y="384900"/>
                </a:lnTo>
                <a:cubicBezTo>
                  <a:pt x="322492" y="367535"/>
                  <a:pt x="308383" y="353968"/>
                  <a:pt x="292102" y="344200"/>
                </a:cubicBezTo>
                <a:cubicBezTo>
                  <a:pt x="275822" y="334431"/>
                  <a:pt x="255200" y="329547"/>
                  <a:pt x="230237" y="329547"/>
                </a:cubicBezTo>
                <a:cubicBezTo>
                  <a:pt x="203646" y="329547"/>
                  <a:pt x="188994" y="334431"/>
                  <a:pt x="175969" y="343657"/>
                </a:cubicBezTo>
                <a:cubicBezTo>
                  <a:pt x="163488" y="352882"/>
                  <a:pt x="156976" y="365364"/>
                  <a:pt x="156976" y="380016"/>
                </a:cubicBezTo>
                <a:cubicBezTo>
                  <a:pt x="156976" y="396839"/>
                  <a:pt x="167287" y="408778"/>
                  <a:pt x="187908" y="415290"/>
                </a:cubicBezTo>
                <a:cubicBezTo>
                  <a:pt x="208530" y="422345"/>
                  <a:pt x="233493" y="429943"/>
                  <a:pt x="271481" y="438083"/>
                </a:cubicBezTo>
                <a:cubicBezTo>
                  <a:pt x="293730" y="442424"/>
                  <a:pt x="315438" y="448394"/>
                  <a:pt x="338230" y="454363"/>
                </a:cubicBezTo>
                <a:cubicBezTo>
                  <a:pt x="360480" y="460875"/>
                  <a:pt x="381101" y="470101"/>
                  <a:pt x="399552" y="482040"/>
                </a:cubicBezTo>
                <a:cubicBezTo>
                  <a:pt x="418004" y="493979"/>
                  <a:pt x="433199" y="509174"/>
                  <a:pt x="444595" y="528167"/>
                </a:cubicBezTo>
                <a:cubicBezTo>
                  <a:pt x="455991" y="547161"/>
                  <a:pt x="461960" y="570496"/>
                  <a:pt x="461960" y="598173"/>
                </a:cubicBezTo>
                <a:cubicBezTo>
                  <a:pt x="461960" y="618795"/>
                  <a:pt x="457619" y="639416"/>
                  <a:pt x="448393" y="660038"/>
                </a:cubicBezTo>
                <a:cubicBezTo>
                  <a:pt x="439168" y="680660"/>
                  <a:pt x="425601" y="699111"/>
                  <a:pt x="406607" y="715391"/>
                </a:cubicBezTo>
                <a:cubicBezTo>
                  <a:pt x="387614" y="731671"/>
                  <a:pt x="364278" y="745238"/>
                  <a:pt x="336059" y="755549"/>
                </a:cubicBezTo>
                <a:cubicBezTo>
                  <a:pt x="308383" y="766403"/>
                  <a:pt x="275279" y="771287"/>
                  <a:pt x="237292" y="771287"/>
                </a:cubicBezTo>
                <a:moveTo>
                  <a:pt x="1419786" y="692599"/>
                </a:moveTo>
                <a:cubicBezTo>
                  <a:pt x="1472968" y="745781"/>
                  <a:pt x="1538089" y="771287"/>
                  <a:pt x="1616235" y="771287"/>
                </a:cubicBezTo>
                <a:cubicBezTo>
                  <a:pt x="1717173" y="771287"/>
                  <a:pt x="1805087" y="718105"/>
                  <a:pt x="1850672" y="636160"/>
                </a:cubicBezTo>
                <a:lnTo>
                  <a:pt x="1734539" y="569954"/>
                </a:lnTo>
                <a:cubicBezTo>
                  <a:pt x="1713917" y="612282"/>
                  <a:pt x="1668875" y="638331"/>
                  <a:pt x="1615150" y="638331"/>
                </a:cubicBezTo>
                <a:cubicBezTo>
                  <a:pt x="1574449" y="638331"/>
                  <a:pt x="1541346" y="624764"/>
                  <a:pt x="1515297" y="598715"/>
                </a:cubicBezTo>
                <a:cubicBezTo>
                  <a:pt x="1489248" y="571582"/>
                  <a:pt x="1475682" y="537393"/>
                  <a:pt x="1475682" y="497235"/>
                </a:cubicBezTo>
                <a:cubicBezTo>
                  <a:pt x="1475682" y="414205"/>
                  <a:pt x="1534833" y="355053"/>
                  <a:pt x="1614607" y="355053"/>
                </a:cubicBezTo>
                <a:cubicBezTo>
                  <a:pt x="1667789" y="355053"/>
                  <a:pt x="1712289" y="382187"/>
                  <a:pt x="1732911" y="424516"/>
                </a:cubicBezTo>
                <a:lnTo>
                  <a:pt x="1847958" y="357224"/>
                </a:lnTo>
                <a:cubicBezTo>
                  <a:pt x="1805629" y="275280"/>
                  <a:pt x="1716087" y="223183"/>
                  <a:pt x="1615692" y="223183"/>
                </a:cubicBezTo>
                <a:cubicBezTo>
                  <a:pt x="1538089" y="223183"/>
                  <a:pt x="1472425" y="249231"/>
                  <a:pt x="1419243" y="301871"/>
                </a:cubicBezTo>
                <a:cubicBezTo>
                  <a:pt x="1367146" y="355053"/>
                  <a:pt x="1341640" y="419089"/>
                  <a:pt x="1341640" y="497235"/>
                </a:cubicBezTo>
                <a:cubicBezTo>
                  <a:pt x="1341640" y="575380"/>
                  <a:pt x="1367689" y="639416"/>
                  <a:pt x="1419786" y="692599"/>
                </a:cubicBezTo>
                <a:moveTo>
                  <a:pt x="1133795" y="757177"/>
                </a:moveTo>
                <a:lnTo>
                  <a:pt x="1268379" y="757177"/>
                </a:lnTo>
                <a:lnTo>
                  <a:pt x="1268379" y="476070"/>
                </a:lnTo>
                <a:cubicBezTo>
                  <a:pt x="1268379" y="404980"/>
                  <a:pt x="1243416" y="345828"/>
                  <a:pt x="1194575" y="296987"/>
                </a:cubicBezTo>
                <a:cubicBezTo>
                  <a:pt x="1145734" y="248146"/>
                  <a:pt x="1085497" y="223183"/>
                  <a:pt x="1014406" y="223183"/>
                </a:cubicBezTo>
                <a:cubicBezTo>
                  <a:pt x="943315" y="223183"/>
                  <a:pt x="883078" y="248146"/>
                  <a:pt x="834237" y="296987"/>
                </a:cubicBezTo>
                <a:cubicBezTo>
                  <a:pt x="785396" y="345828"/>
                  <a:pt x="761518" y="404980"/>
                  <a:pt x="761518" y="476070"/>
                </a:cubicBezTo>
                <a:lnTo>
                  <a:pt x="761518" y="756635"/>
                </a:lnTo>
                <a:lnTo>
                  <a:pt x="896102" y="756635"/>
                </a:lnTo>
                <a:lnTo>
                  <a:pt x="896102" y="485296"/>
                </a:lnTo>
                <a:cubicBezTo>
                  <a:pt x="896102" y="450564"/>
                  <a:pt x="907498" y="412034"/>
                  <a:pt x="929206" y="389242"/>
                </a:cubicBezTo>
                <a:cubicBezTo>
                  <a:pt x="951998" y="366449"/>
                  <a:pt x="979675" y="355053"/>
                  <a:pt x="1013863" y="355053"/>
                </a:cubicBezTo>
                <a:cubicBezTo>
                  <a:pt x="1048052" y="355053"/>
                  <a:pt x="1075728" y="366449"/>
                  <a:pt x="1098521" y="389242"/>
                </a:cubicBezTo>
                <a:cubicBezTo>
                  <a:pt x="1121313" y="412034"/>
                  <a:pt x="1132710" y="450022"/>
                  <a:pt x="1132710" y="485296"/>
                </a:cubicBezTo>
                <a:lnTo>
                  <a:pt x="1132710" y="757177"/>
                </a:lnTo>
                <a:close/>
                <a:moveTo>
                  <a:pt x="2354819" y="296987"/>
                </a:moveTo>
                <a:cubicBezTo>
                  <a:pt x="2305978" y="248146"/>
                  <a:pt x="2245741" y="223183"/>
                  <a:pt x="2174650" y="223183"/>
                </a:cubicBezTo>
                <a:cubicBezTo>
                  <a:pt x="2130693" y="223183"/>
                  <a:pt x="2080767" y="240006"/>
                  <a:pt x="2055803" y="263883"/>
                </a:cubicBezTo>
                <a:lnTo>
                  <a:pt x="2055803" y="2313"/>
                </a:lnTo>
                <a:lnTo>
                  <a:pt x="1921762" y="79373"/>
                </a:lnTo>
                <a:lnTo>
                  <a:pt x="1921762" y="756635"/>
                </a:lnTo>
                <a:lnTo>
                  <a:pt x="2056346" y="756635"/>
                </a:lnTo>
                <a:lnTo>
                  <a:pt x="2056346" y="485296"/>
                </a:lnTo>
                <a:cubicBezTo>
                  <a:pt x="2056346" y="450564"/>
                  <a:pt x="2067742" y="412034"/>
                  <a:pt x="2089450" y="389242"/>
                </a:cubicBezTo>
                <a:cubicBezTo>
                  <a:pt x="2112242" y="366449"/>
                  <a:pt x="2139919" y="355053"/>
                  <a:pt x="2174107" y="355053"/>
                </a:cubicBezTo>
                <a:cubicBezTo>
                  <a:pt x="2208296" y="355053"/>
                  <a:pt x="2235972" y="366449"/>
                  <a:pt x="2258765" y="389242"/>
                </a:cubicBezTo>
                <a:cubicBezTo>
                  <a:pt x="2281557" y="412034"/>
                  <a:pt x="2292954" y="450022"/>
                  <a:pt x="2292954" y="485296"/>
                </a:cubicBezTo>
                <a:lnTo>
                  <a:pt x="2292954" y="756635"/>
                </a:lnTo>
                <a:lnTo>
                  <a:pt x="2427537" y="756635"/>
                </a:lnTo>
                <a:lnTo>
                  <a:pt x="2427537" y="476070"/>
                </a:lnTo>
                <a:cubicBezTo>
                  <a:pt x="2428623" y="405522"/>
                  <a:pt x="2403660" y="345828"/>
                  <a:pt x="2354819" y="296987"/>
                </a:cubicBezTo>
                <a:moveTo>
                  <a:pt x="536307" y="300785"/>
                </a:moveTo>
                <a:lnTo>
                  <a:pt x="536307" y="757177"/>
                </a:lnTo>
                <a:lnTo>
                  <a:pt x="669806" y="757177"/>
                </a:lnTo>
                <a:lnTo>
                  <a:pt x="669806" y="223183"/>
                </a:lnTo>
                <a:lnTo>
                  <a:pt x="536307" y="300785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40000"/>
            </a:schemeClr>
          </a:solidFill>
          <a:ln w="541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30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73E8072-FAF1-44BA-90F4-26F6B22C2B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9" y="1551086"/>
            <a:ext cx="608012" cy="317951"/>
          </a:xfrm>
          <a:prstGeom prst="rect">
            <a:avLst/>
          </a:prstGeom>
        </p:spPr>
      </p:pic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6A6DC0-8378-48A0-86D3-A12DB65A52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2194" y="6519126"/>
            <a:ext cx="5421881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  <a:latin typeface="Atlas Grotesk Light" pitchFamily="50" charset="0"/>
              </a:defRPr>
            </a:lvl1pPr>
          </a:lstStyle>
          <a:p>
            <a:endParaRPr lang="en-GB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6F4EFDA8-2FF0-4138-B807-8B25F1DC5B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25225" y="6491094"/>
            <a:ext cx="350838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900">
                <a:solidFill>
                  <a:schemeClr val="tx1"/>
                </a:solidFill>
                <a:latin typeface="+mj-lt"/>
              </a:defRPr>
            </a:lvl1pPr>
          </a:lstStyle>
          <a:p>
            <a:fld id="{7B5B176D-AD98-464F-9F48-2D39BCB07DB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76587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+ Content + Bubble + Key Mess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939B13-34AD-4A70-93ED-6D068057A708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5B176D-AD98-464F-9F48-2D39BCB07DB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59E96F48-6606-E54F-8FB2-A2F25CF0379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r="-1"/>
          <a:stretch/>
        </p:blipFill>
        <p:spPr>
          <a:xfrm>
            <a:off x="515939" y="512764"/>
            <a:ext cx="1943100" cy="1014962"/>
          </a:xfrm>
          <a:prstGeom prst="rect">
            <a:avLst/>
          </a:prstGeom>
        </p:spPr>
      </p:pic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8ADBDC0-A6D5-FF46-95E9-E2AAC14ECC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8640" y="1685070"/>
            <a:ext cx="5135561" cy="3494223"/>
          </a:xfrm>
        </p:spPr>
        <p:txBody>
          <a:bodyPr anchor="ctr">
            <a:noAutofit/>
          </a:bodyPr>
          <a:lstStyle>
            <a:lvl1pPr algn="ctr">
              <a:defRPr sz="2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Lorem ipsum dolor </a:t>
            </a:r>
            <a:br>
              <a:rPr lang="en-US"/>
            </a:br>
            <a:r>
              <a:rPr lang="en-US"/>
              <a:t>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 </a:t>
            </a:r>
            <a:r>
              <a:rPr lang="en-US" err="1"/>
              <a:t>Nullam</a:t>
            </a:r>
            <a:r>
              <a:rPr lang="en-US"/>
              <a:t> </a:t>
            </a:r>
            <a:r>
              <a:rPr lang="en-US" err="1"/>
              <a:t>accumsan</a:t>
            </a:r>
            <a:r>
              <a:rPr lang="en-US"/>
              <a:t> diam.</a:t>
            </a:r>
          </a:p>
        </p:txBody>
      </p:sp>
    </p:spTree>
    <p:extLst>
      <p:ext uri="{BB962C8B-B14F-4D97-AF65-F5344CB8AC3E}">
        <p14:creationId xmlns:p14="http://schemas.microsoft.com/office/powerpoint/2010/main" val="292290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+ 4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718337-E685-4AD3-9F91-77D7D26FEF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anchor="b"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br>
              <a:rPr lang="en-GB"/>
            </a:br>
            <a:r>
              <a:rPr lang="en-GB"/>
              <a:t>Title can span up to 2 line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C81ED641-F422-4A64-A928-21CC1E0E13E9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515939" y="2168526"/>
            <a:ext cx="5418136" cy="19169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Graphic 5">
            <a:extLst>
              <a:ext uri="{FF2B5EF4-FFF2-40B4-BE49-F238E27FC236}">
                <a16:creationId xmlns:a16="http://schemas.microsoft.com/office/drawing/2014/main" id="{5DAE4771-85EE-432C-82A4-8F4FA200626D}"/>
              </a:ext>
            </a:extLst>
          </p:cNvPr>
          <p:cNvSpPr/>
          <p:nvPr/>
        </p:nvSpPr>
        <p:spPr>
          <a:xfrm>
            <a:off x="9254040" y="5591617"/>
            <a:ext cx="2425767" cy="770602"/>
          </a:xfrm>
          <a:custGeom>
            <a:avLst/>
            <a:gdLst>
              <a:gd name="connsiteX0" fmla="*/ 237292 w 2425767"/>
              <a:gd name="connsiteY0" fmla="*/ 771287 h 770602"/>
              <a:gd name="connsiteX1" fmla="*/ 83172 w 2425767"/>
              <a:gd name="connsiteY1" fmla="*/ 737641 h 770602"/>
              <a:gd name="connsiteX2" fmla="*/ 2313 w 2425767"/>
              <a:gd name="connsiteY2" fmla="*/ 659495 h 770602"/>
              <a:gd name="connsiteX3" fmla="*/ 121702 w 2425767"/>
              <a:gd name="connsiteY3" fmla="*/ 590575 h 770602"/>
              <a:gd name="connsiteX4" fmla="*/ 242176 w 2425767"/>
              <a:gd name="connsiteY4" fmla="*/ 661666 h 770602"/>
              <a:gd name="connsiteX5" fmla="*/ 304584 w 2425767"/>
              <a:gd name="connsiteY5" fmla="*/ 644843 h 770602"/>
              <a:gd name="connsiteX6" fmla="*/ 325748 w 2425767"/>
              <a:gd name="connsiteY6" fmla="*/ 604685 h 770602"/>
              <a:gd name="connsiteX7" fmla="*/ 315980 w 2425767"/>
              <a:gd name="connsiteY7" fmla="*/ 580807 h 770602"/>
              <a:gd name="connsiteX8" fmla="*/ 289389 w 2425767"/>
              <a:gd name="connsiteY8" fmla="*/ 565069 h 770602"/>
              <a:gd name="connsiteX9" fmla="*/ 249774 w 2425767"/>
              <a:gd name="connsiteY9" fmla="*/ 553673 h 770602"/>
              <a:gd name="connsiteX10" fmla="*/ 202018 w 2425767"/>
              <a:gd name="connsiteY10" fmla="*/ 543905 h 770602"/>
              <a:gd name="connsiteX11" fmla="*/ 140153 w 2425767"/>
              <a:gd name="connsiteY11" fmla="*/ 527625 h 770602"/>
              <a:gd name="connsiteX12" fmla="*/ 82086 w 2425767"/>
              <a:gd name="connsiteY12" fmla="*/ 500491 h 770602"/>
              <a:gd name="connsiteX13" fmla="*/ 38672 w 2425767"/>
              <a:gd name="connsiteY13" fmla="*/ 456534 h 770602"/>
              <a:gd name="connsiteX14" fmla="*/ 22392 w 2425767"/>
              <a:gd name="connsiteY14" fmla="*/ 388157 h 770602"/>
              <a:gd name="connsiteX15" fmla="*/ 38129 w 2425767"/>
              <a:gd name="connsiteY15" fmla="*/ 325206 h 770602"/>
              <a:gd name="connsiteX16" fmla="*/ 82086 w 2425767"/>
              <a:gd name="connsiteY16" fmla="*/ 272566 h 770602"/>
              <a:gd name="connsiteX17" fmla="*/ 147208 w 2425767"/>
              <a:gd name="connsiteY17" fmla="*/ 237292 h 770602"/>
              <a:gd name="connsiteX18" fmla="*/ 230237 w 2425767"/>
              <a:gd name="connsiteY18" fmla="*/ 224268 h 770602"/>
              <a:gd name="connsiteX19" fmla="*/ 366449 w 2425767"/>
              <a:gd name="connsiteY19" fmla="*/ 254115 h 770602"/>
              <a:gd name="connsiteX20" fmla="*/ 444595 w 2425767"/>
              <a:gd name="connsiteY20" fmla="*/ 321407 h 770602"/>
              <a:gd name="connsiteX21" fmla="*/ 333346 w 2425767"/>
              <a:gd name="connsiteY21" fmla="*/ 384900 h 770602"/>
              <a:gd name="connsiteX22" fmla="*/ 292102 w 2425767"/>
              <a:gd name="connsiteY22" fmla="*/ 344200 h 770602"/>
              <a:gd name="connsiteX23" fmla="*/ 230237 w 2425767"/>
              <a:gd name="connsiteY23" fmla="*/ 329547 h 770602"/>
              <a:gd name="connsiteX24" fmla="*/ 175969 w 2425767"/>
              <a:gd name="connsiteY24" fmla="*/ 343657 h 770602"/>
              <a:gd name="connsiteX25" fmla="*/ 156976 w 2425767"/>
              <a:gd name="connsiteY25" fmla="*/ 380016 h 770602"/>
              <a:gd name="connsiteX26" fmla="*/ 187908 w 2425767"/>
              <a:gd name="connsiteY26" fmla="*/ 415290 h 770602"/>
              <a:gd name="connsiteX27" fmla="*/ 271481 w 2425767"/>
              <a:gd name="connsiteY27" fmla="*/ 438083 h 770602"/>
              <a:gd name="connsiteX28" fmla="*/ 338230 w 2425767"/>
              <a:gd name="connsiteY28" fmla="*/ 454363 h 770602"/>
              <a:gd name="connsiteX29" fmla="*/ 399552 w 2425767"/>
              <a:gd name="connsiteY29" fmla="*/ 482040 h 770602"/>
              <a:gd name="connsiteX30" fmla="*/ 444595 w 2425767"/>
              <a:gd name="connsiteY30" fmla="*/ 528167 h 770602"/>
              <a:gd name="connsiteX31" fmla="*/ 461960 w 2425767"/>
              <a:gd name="connsiteY31" fmla="*/ 598173 h 770602"/>
              <a:gd name="connsiteX32" fmla="*/ 448393 w 2425767"/>
              <a:gd name="connsiteY32" fmla="*/ 660038 h 770602"/>
              <a:gd name="connsiteX33" fmla="*/ 406607 w 2425767"/>
              <a:gd name="connsiteY33" fmla="*/ 715391 h 770602"/>
              <a:gd name="connsiteX34" fmla="*/ 336059 w 2425767"/>
              <a:gd name="connsiteY34" fmla="*/ 755549 h 770602"/>
              <a:gd name="connsiteX35" fmla="*/ 237292 w 2425767"/>
              <a:gd name="connsiteY35" fmla="*/ 771287 h 770602"/>
              <a:gd name="connsiteX36" fmla="*/ 1419786 w 2425767"/>
              <a:gd name="connsiteY36" fmla="*/ 692599 h 770602"/>
              <a:gd name="connsiteX37" fmla="*/ 1616235 w 2425767"/>
              <a:gd name="connsiteY37" fmla="*/ 771287 h 770602"/>
              <a:gd name="connsiteX38" fmla="*/ 1850672 w 2425767"/>
              <a:gd name="connsiteY38" fmla="*/ 636160 h 770602"/>
              <a:gd name="connsiteX39" fmla="*/ 1734539 w 2425767"/>
              <a:gd name="connsiteY39" fmla="*/ 569954 h 770602"/>
              <a:gd name="connsiteX40" fmla="*/ 1615150 w 2425767"/>
              <a:gd name="connsiteY40" fmla="*/ 638331 h 770602"/>
              <a:gd name="connsiteX41" fmla="*/ 1515297 w 2425767"/>
              <a:gd name="connsiteY41" fmla="*/ 598715 h 770602"/>
              <a:gd name="connsiteX42" fmla="*/ 1475682 w 2425767"/>
              <a:gd name="connsiteY42" fmla="*/ 497235 h 770602"/>
              <a:gd name="connsiteX43" fmla="*/ 1614607 w 2425767"/>
              <a:gd name="connsiteY43" fmla="*/ 355053 h 770602"/>
              <a:gd name="connsiteX44" fmla="*/ 1732911 w 2425767"/>
              <a:gd name="connsiteY44" fmla="*/ 424516 h 770602"/>
              <a:gd name="connsiteX45" fmla="*/ 1847958 w 2425767"/>
              <a:gd name="connsiteY45" fmla="*/ 357224 h 770602"/>
              <a:gd name="connsiteX46" fmla="*/ 1615692 w 2425767"/>
              <a:gd name="connsiteY46" fmla="*/ 223183 h 770602"/>
              <a:gd name="connsiteX47" fmla="*/ 1419243 w 2425767"/>
              <a:gd name="connsiteY47" fmla="*/ 301871 h 770602"/>
              <a:gd name="connsiteX48" fmla="*/ 1341640 w 2425767"/>
              <a:gd name="connsiteY48" fmla="*/ 497235 h 770602"/>
              <a:gd name="connsiteX49" fmla="*/ 1419786 w 2425767"/>
              <a:gd name="connsiteY49" fmla="*/ 692599 h 770602"/>
              <a:gd name="connsiteX50" fmla="*/ 1133795 w 2425767"/>
              <a:gd name="connsiteY50" fmla="*/ 757177 h 770602"/>
              <a:gd name="connsiteX51" fmla="*/ 1268379 w 2425767"/>
              <a:gd name="connsiteY51" fmla="*/ 757177 h 770602"/>
              <a:gd name="connsiteX52" fmla="*/ 1268379 w 2425767"/>
              <a:gd name="connsiteY52" fmla="*/ 476070 h 770602"/>
              <a:gd name="connsiteX53" fmla="*/ 1194575 w 2425767"/>
              <a:gd name="connsiteY53" fmla="*/ 296987 h 770602"/>
              <a:gd name="connsiteX54" fmla="*/ 1014406 w 2425767"/>
              <a:gd name="connsiteY54" fmla="*/ 223183 h 770602"/>
              <a:gd name="connsiteX55" fmla="*/ 834237 w 2425767"/>
              <a:gd name="connsiteY55" fmla="*/ 296987 h 770602"/>
              <a:gd name="connsiteX56" fmla="*/ 761518 w 2425767"/>
              <a:gd name="connsiteY56" fmla="*/ 476070 h 770602"/>
              <a:gd name="connsiteX57" fmla="*/ 761518 w 2425767"/>
              <a:gd name="connsiteY57" fmla="*/ 756635 h 770602"/>
              <a:gd name="connsiteX58" fmla="*/ 896102 w 2425767"/>
              <a:gd name="connsiteY58" fmla="*/ 756635 h 770602"/>
              <a:gd name="connsiteX59" fmla="*/ 896102 w 2425767"/>
              <a:gd name="connsiteY59" fmla="*/ 485296 h 770602"/>
              <a:gd name="connsiteX60" fmla="*/ 929206 w 2425767"/>
              <a:gd name="connsiteY60" fmla="*/ 389242 h 770602"/>
              <a:gd name="connsiteX61" fmla="*/ 1013863 w 2425767"/>
              <a:gd name="connsiteY61" fmla="*/ 355053 h 770602"/>
              <a:gd name="connsiteX62" fmla="*/ 1098521 w 2425767"/>
              <a:gd name="connsiteY62" fmla="*/ 389242 h 770602"/>
              <a:gd name="connsiteX63" fmla="*/ 1132710 w 2425767"/>
              <a:gd name="connsiteY63" fmla="*/ 485296 h 770602"/>
              <a:gd name="connsiteX64" fmla="*/ 1132710 w 2425767"/>
              <a:gd name="connsiteY64" fmla="*/ 757177 h 770602"/>
              <a:gd name="connsiteX65" fmla="*/ 2354819 w 2425767"/>
              <a:gd name="connsiteY65" fmla="*/ 296987 h 770602"/>
              <a:gd name="connsiteX66" fmla="*/ 2174650 w 2425767"/>
              <a:gd name="connsiteY66" fmla="*/ 223183 h 770602"/>
              <a:gd name="connsiteX67" fmla="*/ 2055803 w 2425767"/>
              <a:gd name="connsiteY67" fmla="*/ 263883 h 770602"/>
              <a:gd name="connsiteX68" fmla="*/ 2055803 w 2425767"/>
              <a:gd name="connsiteY68" fmla="*/ 2313 h 770602"/>
              <a:gd name="connsiteX69" fmla="*/ 1921762 w 2425767"/>
              <a:gd name="connsiteY69" fmla="*/ 79373 h 770602"/>
              <a:gd name="connsiteX70" fmla="*/ 1921762 w 2425767"/>
              <a:gd name="connsiteY70" fmla="*/ 756635 h 770602"/>
              <a:gd name="connsiteX71" fmla="*/ 2056346 w 2425767"/>
              <a:gd name="connsiteY71" fmla="*/ 756635 h 770602"/>
              <a:gd name="connsiteX72" fmla="*/ 2056346 w 2425767"/>
              <a:gd name="connsiteY72" fmla="*/ 485296 h 770602"/>
              <a:gd name="connsiteX73" fmla="*/ 2089450 w 2425767"/>
              <a:gd name="connsiteY73" fmla="*/ 389242 h 770602"/>
              <a:gd name="connsiteX74" fmla="*/ 2174107 w 2425767"/>
              <a:gd name="connsiteY74" fmla="*/ 355053 h 770602"/>
              <a:gd name="connsiteX75" fmla="*/ 2258765 w 2425767"/>
              <a:gd name="connsiteY75" fmla="*/ 389242 h 770602"/>
              <a:gd name="connsiteX76" fmla="*/ 2292954 w 2425767"/>
              <a:gd name="connsiteY76" fmla="*/ 485296 h 770602"/>
              <a:gd name="connsiteX77" fmla="*/ 2292954 w 2425767"/>
              <a:gd name="connsiteY77" fmla="*/ 756635 h 770602"/>
              <a:gd name="connsiteX78" fmla="*/ 2427537 w 2425767"/>
              <a:gd name="connsiteY78" fmla="*/ 756635 h 770602"/>
              <a:gd name="connsiteX79" fmla="*/ 2427537 w 2425767"/>
              <a:gd name="connsiteY79" fmla="*/ 476070 h 770602"/>
              <a:gd name="connsiteX80" fmla="*/ 2354819 w 2425767"/>
              <a:gd name="connsiteY80" fmla="*/ 296987 h 770602"/>
              <a:gd name="connsiteX81" fmla="*/ 536307 w 2425767"/>
              <a:gd name="connsiteY81" fmla="*/ 300785 h 770602"/>
              <a:gd name="connsiteX82" fmla="*/ 536307 w 2425767"/>
              <a:gd name="connsiteY82" fmla="*/ 757177 h 770602"/>
              <a:gd name="connsiteX83" fmla="*/ 669806 w 2425767"/>
              <a:gd name="connsiteY83" fmla="*/ 757177 h 770602"/>
              <a:gd name="connsiteX84" fmla="*/ 669806 w 2425767"/>
              <a:gd name="connsiteY84" fmla="*/ 223183 h 770602"/>
              <a:gd name="connsiteX85" fmla="*/ 536307 w 2425767"/>
              <a:gd name="connsiteY85" fmla="*/ 300785 h 7706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</a:cxnLst>
            <a:rect l="l" t="t" r="r" b="b"/>
            <a:pathLst>
              <a:path w="2425767" h="770602">
                <a:moveTo>
                  <a:pt x="237292" y="771287"/>
                </a:moveTo>
                <a:cubicBezTo>
                  <a:pt x="174341" y="771287"/>
                  <a:pt x="123330" y="759891"/>
                  <a:pt x="83172" y="737641"/>
                </a:cubicBezTo>
                <a:cubicBezTo>
                  <a:pt x="49526" y="718647"/>
                  <a:pt x="22392" y="692599"/>
                  <a:pt x="2313" y="659495"/>
                </a:cubicBezTo>
                <a:lnTo>
                  <a:pt x="121702" y="590575"/>
                </a:lnTo>
                <a:cubicBezTo>
                  <a:pt x="145037" y="637788"/>
                  <a:pt x="185195" y="661666"/>
                  <a:pt x="242176" y="661666"/>
                </a:cubicBezTo>
                <a:cubicBezTo>
                  <a:pt x="269310" y="661666"/>
                  <a:pt x="289932" y="656239"/>
                  <a:pt x="304584" y="644843"/>
                </a:cubicBezTo>
                <a:cubicBezTo>
                  <a:pt x="318694" y="633447"/>
                  <a:pt x="325748" y="619880"/>
                  <a:pt x="325748" y="604685"/>
                </a:cubicBezTo>
                <a:cubicBezTo>
                  <a:pt x="325748" y="594917"/>
                  <a:pt x="322492" y="586777"/>
                  <a:pt x="315980" y="580807"/>
                </a:cubicBezTo>
                <a:cubicBezTo>
                  <a:pt x="309468" y="574838"/>
                  <a:pt x="300785" y="569411"/>
                  <a:pt x="289389" y="565069"/>
                </a:cubicBezTo>
                <a:cubicBezTo>
                  <a:pt x="277993" y="560728"/>
                  <a:pt x="264969" y="556929"/>
                  <a:pt x="249774" y="553673"/>
                </a:cubicBezTo>
                <a:cubicBezTo>
                  <a:pt x="235121" y="550417"/>
                  <a:pt x="218841" y="547161"/>
                  <a:pt x="202018" y="543905"/>
                </a:cubicBezTo>
                <a:cubicBezTo>
                  <a:pt x="179768" y="539564"/>
                  <a:pt x="162403" y="534137"/>
                  <a:pt x="140153" y="527625"/>
                </a:cubicBezTo>
                <a:cubicBezTo>
                  <a:pt x="117903" y="521113"/>
                  <a:pt x="99995" y="511887"/>
                  <a:pt x="82086" y="500491"/>
                </a:cubicBezTo>
                <a:cubicBezTo>
                  <a:pt x="64178" y="489095"/>
                  <a:pt x="50068" y="473900"/>
                  <a:pt x="38672" y="456534"/>
                </a:cubicBezTo>
                <a:cubicBezTo>
                  <a:pt x="27819" y="438626"/>
                  <a:pt x="22392" y="415833"/>
                  <a:pt x="22392" y="388157"/>
                </a:cubicBezTo>
                <a:cubicBezTo>
                  <a:pt x="22392" y="365907"/>
                  <a:pt x="27819" y="345285"/>
                  <a:pt x="38129" y="325206"/>
                </a:cubicBezTo>
                <a:cubicBezTo>
                  <a:pt x="48440" y="305127"/>
                  <a:pt x="63093" y="287761"/>
                  <a:pt x="82086" y="272566"/>
                </a:cubicBezTo>
                <a:cubicBezTo>
                  <a:pt x="101080" y="257914"/>
                  <a:pt x="121159" y="245975"/>
                  <a:pt x="147208" y="237292"/>
                </a:cubicBezTo>
                <a:cubicBezTo>
                  <a:pt x="173256" y="228609"/>
                  <a:pt x="198219" y="224268"/>
                  <a:pt x="230237" y="224268"/>
                </a:cubicBezTo>
                <a:cubicBezTo>
                  <a:pt x="286133" y="224268"/>
                  <a:pt x="331175" y="234036"/>
                  <a:pt x="366449" y="254115"/>
                </a:cubicBezTo>
                <a:cubicBezTo>
                  <a:pt x="396296" y="270938"/>
                  <a:pt x="422345" y="293188"/>
                  <a:pt x="444595" y="321407"/>
                </a:cubicBezTo>
                <a:lnTo>
                  <a:pt x="333346" y="384900"/>
                </a:lnTo>
                <a:cubicBezTo>
                  <a:pt x="322492" y="367535"/>
                  <a:pt x="308383" y="353968"/>
                  <a:pt x="292102" y="344200"/>
                </a:cubicBezTo>
                <a:cubicBezTo>
                  <a:pt x="275822" y="334431"/>
                  <a:pt x="255200" y="329547"/>
                  <a:pt x="230237" y="329547"/>
                </a:cubicBezTo>
                <a:cubicBezTo>
                  <a:pt x="203646" y="329547"/>
                  <a:pt x="188994" y="334431"/>
                  <a:pt x="175969" y="343657"/>
                </a:cubicBezTo>
                <a:cubicBezTo>
                  <a:pt x="163488" y="352882"/>
                  <a:pt x="156976" y="365364"/>
                  <a:pt x="156976" y="380016"/>
                </a:cubicBezTo>
                <a:cubicBezTo>
                  <a:pt x="156976" y="396839"/>
                  <a:pt x="167287" y="408778"/>
                  <a:pt x="187908" y="415290"/>
                </a:cubicBezTo>
                <a:cubicBezTo>
                  <a:pt x="208530" y="422345"/>
                  <a:pt x="233493" y="429943"/>
                  <a:pt x="271481" y="438083"/>
                </a:cubicBezTo>
                <a:cubicBezTo>
                  <a:pt x="293730" y="442424"/>
                  <a:pt x="315438" y="448394"/>
                  <a:pt x="338230" y="454363"/>
                </a:cubicBezTo>
                <a:cubicBezTo>
                  <a:pt x="360480" y="460875"/>
                  <a:pt x="381101" y="470101"/>
                  <a:pt x="399552" y="482040"/>
                </a:cubicBezTo>
                <a:cubicBezTo>
                  <a:pt x="418004" y="493979"/>
                  <a:pt x="433199" y="509174"/>
                  <a:pt x="444595" y="528167"/>
                </a:cubicBezTo>
                <a:cubicBezTo>
                  <a:pt x="455991" y="547161"/>
                  <a:pt x="461960" y="570496"/>
                  <a:pt x="461960" y="598173"/>
                </a:cubicBezTo>
                <a:cubicBezTo>
                  <a:pt x="461960" y="618795"/>
                  <a:pt x="457619" y="639416"/>
                  <a:pt x="448393" y="660038"/>
                </a:cubicBezTo>
                <a:cubicBezTo>
                  <a:pt x="439168" y="680660"/>
                  <a:pt x="425601" y="699111"/>
                  <a:pt x="406607" y="715391"/>
                </a:cubicBezTo>
                <a:cubicBezTo>
                  <a:pt x="387614" y="731671"/>
                  <a:pt x="364278" y="745238"/>
                  <a:pt x="336059" y="755549"/>
                </a:cubicBezTo>
                <a:cubicBezTo>
                  <a:pt x="308383" y="766403"/>
                  <a:pt x="275279" y="771287"/>
                  <a:pt x="237292" y="771287"/>
                </a:cubicBezTo>
                <a:moveTo>
                  <a:pt x="1419786" y="692599"/>
                </a:moveTo>
                <a:cubicBezTo>
                  <a:pt x="1472968" y="745781"/>
                  <a:pt x="1538089" y="771287"/>
                  <a:pt x="1616235" y="771287"/>
                </a:cubicBezTo>
                <a:cubicBezTo>
                  <a:pt x="1717173" y="771287"/>
                  <a:pt x="1805087" y="718105"/>
                  <a:pt x="1850672" y="636160"/>
                </a:cubicBezTo>
                <a:lnTo>
                  <a:pt x="1734539" y="569954"/>
                </a:lnTo>
                <a:cubicBezTo>
                  <a:pt x="1713917" y="612282"/>
                  <a:pt x="1668875" y="638331"/>
                  <a:pt x="1615150" y="638331"/>
                </a:cubicBezTo>
                <a:cubicBezTo>
                  <a:pt x="1574449" y="638331"/>
                  <a:pt x="1541346" y="624764"/>
                  <a:pt x="1515297" y="598715"/>
                </a:cubicBezTo>
                <a:cubicBezTo>
                  <a:pt x="1489248" y="571582"/>
                  <a:pt x="1475682" y="537393"/>
                  <a:pt x="1475682" y="497235"/>
                </a:cubicBezTo>
                <a:cubicBezTo>
                  <a:pt x="1475682" y="414205"/>
                  <a:pt x="1534833" y="355053"/>
                  <a:pt x="1614607" y="355053"/>
                </a:cubicBezTo>
                <a:cubicBezTo>
                  <a:pt x="1667789" y="355053"/>
                  <a:pt x="1712289" y="382187"/>
                  <a:pt x="1732911" y="424516"/>
                </a:cubicBezTo>
                <a:lnTo>
                  <a:pt x="1847958" y="357224"/>
                </a:lnTo>
                <a:cubicBezTo>
                  <a:pt x="1805629" y="275280"/>
                  <a:pt x="1716087" y="223183"/>
                  <a:pt x="1615692" y="223183"/>
                </a:cubicBezTo>
                <a:cubicBezTo>
                  <a:pt x="1538089" y="223183"/>
                  <a:pt x="1472425" y="249231"/>
                  <a:pt x="1419243" y="301871"/>
                </a:cubicBezTo>
                <a:cubicBezTo>
                  <a:pt x="1367146" y="355053"/>
                  <a:pt x="1341640" y="419089"/>
                  <a:pt x="1341640" y="497235"/>
                </a:cubicBezTo>
                <a:cubicBezTo>
                  <a:pt x="1341640" y="575380"/>
                  <a:pt x="1367689" y="639416"/>
                  <a:pt x="1419786" y="692599"/>
                </a:cubicBezTo>
                <a:moveTo>
                  <a:pt x="1133795" y="757177"/>
                </a:moveTo>
                <a:lnTo>
                  <a:pt x="1268379" y="757177"/>
                </a:lnTo>
                <a:lnTo>
                  <a:pt x="1268379" y="476070"/>
                </a:lnTo>
                <a:cubicBezTo>
                  <a:pt x="1268379" y="404980"/>
                  <a:pt x="1243416" y="345828"/>
                  <a:pt x="1194575" y="296987"/>
                </a:cubicBezTo>
                <a:cubicBezTo>
                  <a:pt x="1145734" y="248146"/>
                  <a:pt x="1085497" y="223183"/>
                  <a:pt x="1014406" y="223183"/>
                </a:cubicBezTo>
                <a:cubicBezTo>
                  <a:pt x="943315" y="223183"/>
                  <a:pt x="883078" y="248146"/>
                  <a:pt x="834237" y="296987"/>
                </a:cubicBezTo>
                <a:cubicBezTo>
                  <a:pt x="785396" y="345828"/>
                  <a:pt x="761518" y="404980"/>
                  <a:pt x="761518" y="476070"/>
                </a:cubicBezTo>
                <a:lnTo>
                  <a:pt x="761518" y="756635"/>
                </a:lnTo>
                <a:lnTo>
                  <a:pt x="896102" y="756635"/>
                </a:lnTo>
                <a:lnTo>
                  <a:pt x="896102" y="485296"/>
                </a:lnTo>
                <a:cubicBezTo>
                  <a:pt x="896102" y="450564"/>
                  <a:pt x="907498" y="412034"/>
                  <a:pt x="929206" y="389242"/>
                </a:cubicBezTo>
                <a:cubicBezTo>
                  <a:pt x="951998" y="366449"/>
                  <a:pt x="979675" y="355053"/>
                  <a:pt x="1013863" y="355053"/>
                </a:cubicBezTo>
                <a:cubicBezTo>
                  <a:pt x="1048052" y="355053"/>
                  <a:pt x="1075728" y="366449"/>
                  <a:pt x="1098521" y="389242"/>
                </a:cubicBezTo>
                <a:cubicBezTo>
                  <a:pt x="1121313" y="412034"/>
                  <a:pt x="1132710" y="450022"/>
                  <a:pt x="1132710" y="485296"/>
                </a:cubicBezTo>
                <a:lnTo>
                  <a:pt x="1132710" y="757177"/>
                </a:lnTo>
                <a:close/>
                <a:moveTo>
                  <a:pt x="2354819" y="296987"/>
                </a:moveTo>
                <a:cubicBezTo>
                  <a:pt x="2305978" y="248146"/>
                  <a:pt x="2245741" y="223183"/>
                  <a:pt x="2174650" y="223183"/>
                </a:cubicBezTo>
                <a:cubicBezTo>
                  <a:pt x="2130693" y="223183"/>
                  <a:pt x="2080767" y="240006"/>
                  <a:pt x="2055803" y="263883"/>
                </a:cubicBezTo>
                <a:lnTo>
                  <a:pt x="2055803" y="2313"/>
                </a:lnTo>
                <a:lnTo>
                  <a:pt x="1921762" y="79373"/>
                </a:lnTo>
                <a:lnTo>
                  <a:pt x="1921762" y="756635"/>
                </a:lnTo>
                <a:lnTo>
                  <a:pt x="2056346" y="756635"/>
                </a:lnTo>
                <a:lnTo>
                  <a:pt x="2056346" y="485296"/>
                </a:lnTo>
                <a:cubicBezTo>
                  <a:pt x="2056346" y="450564"/>
                  <a:pt x="2067742" y="412034"/>
                  <a:pt x="2089450" y="389242"/>
                </a:cubicBezTo>
                <a:cubicBezTo>
                  <a:pt x="2112242" y="366449"/>
                  <a:pt x="2139919" y="355053"/>
                  <a:pt x="2174107" y="355053"/>
                </a:cubicBezTo>
                <a:cubicBezTo>
                  <a:pt x="2208296" y="355053"/>
                  <a:pt x="2235972" y="366449"/>
                  <a:pt x="2258765" y="389242"/>
                </a:cubicBezTo>
                <a:cubicBezTo>
                  <a:pt x="2281557" y="412034"/>
                  <a:pt x="2292954" y="450022"/>
                  <a:pt x="2292954" y="485296"/>
                </a:cubicBezTo>
                <a:lnTo>
                  <a:pt x="2292954" y="756635"/>
                </a:lnTo>
                <a:lnTo>
                  <a:pt x="2427537" y="756635"/>
                </a:lnTo>
                <a:lnTo>
                  <a:pt x="2427537" y="476070"/>
                </a:lnTo>
                <a:cubicBezTo>
                  <a:pt x="2428623" y="405522"/>
                  <a:pt x="2403660" y="345828"/>
                  <a:pt x="2354819" y="296987"/>
                </a:cubicBezTo>
                <a:moveTo>
                  <a:pt x="536307" y="300785"/>
                </a:moveTo>
                <a:lnTo>
                  <a:pt x="536307" y="757177"/>
                </a:lnTo>
                <a:lnTo>
                  <a:pt x="669806" y="757177"/>
                </a:lnTo>
                <a:lnTo>
                  <a:pt x="669806" y="223183"/>
                </a:lnTo>
                <a:lnTo>
                  <a:pt x="536307" y="300785"/>
                </a:lnTo>
                <a:close/>
              </a:path>
            </a:pathLst>
          </a:custGeom>
          <a:solidFill>
            <a:schemeClr val="tx1">
              <a:lumMod val="20000"/>
              <a:lumOff val="80000"/>
              <a:alpha val="40000"/>
            </a:schemeClr>
          </a:solidFill>
          <a:ln w="5412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300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73E8072-FAF1-44BA-90F4-26F6B22C2B1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5939" y="1551085"/>
            <a:ext cx="608012" cy="317951"/>
          </a:xfrm>
          <a:prstGeom prst="rect">
            <a:avLst/>
          </a:prstGeom>
        </p:spPr>
      </p:pic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320DFE21-D413-44F0-AF7C-5A680C544B17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515939" y="4429524"/>
            <a:ext cx="5418136" cy="19169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669E0934-C7DC-423E-9FBE-C7E1D1628E5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57925" y="2168526"/>
            <a:ext cx="5418136" cy="19169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66CD23C-FE9E-44EB-9CB0-8BC5FAECE0D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57925" y="4429524"/>
            <a:ext cx="5418136" cy="191695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BCFC33C-2C92-4000-9449-8FD9DD86659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650F393-FE84-4313-B335-5F1C8C7C45C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B5B176D-AD98-464F-9F48-2D39BCB07DB2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7027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message + Colour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762E98-9C3E-42F6-8C85-EAD2842154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85115A-78B7-4FB8-B381-51ACB10D1E35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5B176D-AD98-464F-9F48-2D39BCB07DB2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49B60651-ECBC-46D8-9A62-4C65881C7AE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5" t="237" r="-1"/>
          <a:stretch/>
        </p:blipFill>
        <p:spPr>
          <a:xfrm>
            <a:off x="515939" y="512764"/>
            <a:ext cx="1943100" cy="10149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4995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ront Cover Red">
    <p:bg>
      <p:bgPr>
        <a:solidFill>
          <a:srgbClr val="DF3D5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4C3CC"/>
                </a:solidFill>
              </a:defRPr>
            </a:lvl1pPr>
          </a:lstStyle>
          <a:p>
            <a:r>
              <a:t>Title Text</a:t>
            </a:r>
          </a:p>
        </p:txBody>
      </p:sp>
      <p:sp>
        <p:nvSpPr>
          <p:cNvPr id="50" name="Click to edit subtitle, can span up to 3 lines"/>
          <p:cNvSpPr txBox="1">
            <a:spLocks noGrp="1"/>
          </p:cNvSpPr>
          <p:nvPr>
            <p:ph type="body" sz="quarter" idx="14"/>
          </p:nvPr>
        </p:nvSpPr>
        <p:spPr>
          <a:xfrm>
            <a:off x="1816100" y="3356254"/>
            <a:ext cx="3505945" cy="66040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t>Click to edit subtitle, can span up to 3 lines</a:t>
            </a:r>
          </a:p>
        </p:txBody>
      </p:sp>
      <p:pic>
        <p:nvPicPr>
          <p:cNvPr id="52" name="Image" descr="Imag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947" y="6191033"/>
            <a:ext cx="1121654" cy="355601"/>
          </a:xfrm>
          <a:prstGeom prst="rect">
            <a:avLst/>
          </a:prstGeom>
          <a:ln w="12700">
            <a:miter lim="400000"/>
          </a:ln>
        </p:spPr>
      </p:pic>
      <p:sp>
        <p:nvSpPr>
          <p:cNvPr id="8" name="DATE 2019">
            <a:extLst>
              <a:ext uri="{FF2B5EF4-FFF2-40B4-BE49-F238E27FC236}">
                <a16:creationId xmlns:a16="http://schemas.microsoft.com/office/drawing/2014/main" id="{C71A1200-27A8-1A4C-848C-E00BB89A2D05}"/>
              </a:ext>
            </a:extLst>
          </p:cNvPr>
          <p:cNvSpPr txBox="1">
            <a:spLocks noGrp="1"/>
          </p:cNvSpPr>
          <p:nvPr>
            <p:ph type="body" sz="quarter" idx="13"/>
          </p:nvPr>
        </p:nvSpPr>
        <p:spPr>
          <a:xfrm rot="16200000">
            <a:off x="-484587" y="1235466"/>
            <a:ext cx="1735537" cy="222240"/>
          </a:xfrm>
          <a:prstGeom prst="rect">
            <a:avLst/>
          </a:prstGeom>
        </p:spPr>
        <p:txBody>
          <a:bodyPr>
            <a:spAutoFit/>
          </a:bodyPr>
          <a:lstStyle>
            <a:lvl1pPr algn="r">
              <a:lnSpc>
                <a:spcPct val="110000"/>
              </a:lnSpc>
              <a:defRPr sz="800" b="1" cap="all" spc="240">
                <a:solidFill>
                  <a:schemeClr val="bg1"/>
                </a:solidFill>
              </a:defRPr>
            </a:lvl1pPr>
          </a:lstStyle>
          <a:p>
            <a:r>
              <a:t>DATE 2019 </a:t>
            </a:r>
          </a:p>
        </p:txBody>
      </p:sp>
      <p:sp>
        <p:nvSpPr>
          <p:cNvPr id="7" name="Copyright © 2019 Sinch. All rights reserved. NDA Confidential.">
            <a:extLst>
              <a:ext uri="{FF2B5EF4-FFF2-40B4-BE49-F238E27FC236}">
                <a16:creationId xmlns:a16="http://schemas.microsoft.com/office/drawing/2014/main" id="{003A5A87-3BAD-9746-8D51-03DA0908A51C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>
                <a:solidFill>
                  <a:schemeClr val="bg1"/>
                </a:solidFill>
              </a:rPr>
              <a:t>Copyright © 2019 </a:t>
            </a:r>
            <a:r>
              <a:rPr sz="400" err="1">
                <a:solidFill>
                  <a:schemeClr val="bg1"/>
                </a:solidFill>
              </a:rPr>
              <a:t>Sinch</a:t>
            </a:r>
            <a:r>
              <a:rPr sz="400">
                <a:solidFill>
                  <a:schemeClr val="bg1"/>
                </a:solidFill>
              </a:rPr>
              <a:t>. All rights reserved. NDA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63512019"/>
      </p:ext>
    </p:extLst>
  </p:cSld>
  <p:clrMapOvr>
    <a:masterClrMapping/>
  </p:clrMapOvr>
  <p:transition spd="med"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Half Page layou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pyright © 2019 Sinch. All rights reserved. NDA Confidential.">
            <a:extLst>
              <a:ext uri="{FF2B5EF4-FFF2-40B4-BE49-F238E27FC236}">
                <a16:creationId xmlns:a16="http://schemas.microsoft.com/office/drawing/2014/main" id="{BC16856E-C521-6340-A08A-FD73DDD6406E}"/>
              </a:ext>
            </a:extLst>
          </p:cNvPr>
          <p:cNvSpPr txBox="1"/>
          <p:nvPr userDrawn="1"/>
        </p:nvSpPr>
        <p:spPr>
          <a:xfrm>
            <a:off x="1035399" y="6406389"/>
            <a:ext cx="3966911" cy="23859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25400" tIns="25400" rIns="25400" bIns="25400" anchor="ctr">
            <a:spAutoFit/>
          </a:bodyPr>
          <a:lstStyle>
            <a:lvl1pPr algn="l" defTabSz="457200">
              <a:lnSpc>
                <a:spcPts val="1800"/>
              </a:lnSpc>
              <a:defRPr sz="800" b="0">
                <a:solidFill>
                  <a:srgbClr val="B0B4B7"/>
                </a:solidFill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rPr sz="400"/>
              <a:t>Copyright © 2</a:t>
            </a:r>
            <a:r>
              <a:rPr lang="en-US" sz="400"/>
              <a:t>021</a:t>
            </a:r>
            <a:r>
              <a:rPr sz="400"/>
              <a:t> Sinch. All rights reserved. NDA Confidential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1BFD01D-C2D9-3F4D-9A76-AE5290D4D64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4250" y="6413556"/>
            <a:ext cx="457200" cy="146050"/>
          </a:xfrm>
          <a:prstGeom prst="rect">
            <a:avLst/>
          </a:prstGeom>
        </p:spPr>
      </p:pic>
      <p:sp>
        <p:nvSpPr>
          <p:cNvPr id="4" name="Rectangle">
            <a:extLst>
              <a:ext uri="{FF2B5EF4-FFF2-40B4-BE49-F238E27FC236}">
                <a16:creationId xmlns:a16="http://schemas.microsoft.com/office/drawing/2014/main" id="{8809D4F9-9D07-124C-9F0D-EC0042F16649}"/>
              </a:ext>
            </a:extLst>
          </p:cNvPr>
          <p:cNvSpPr/>
          <p:nvPr userDrawn="1"/>
        </p:nvSpPr>
        <p:spPr>
          <a:xfrm>
            <a:off x="0" y="6785052"/>
            <a:ext cx="12192000" cy="95250"/>
          </a:xfrm>
          <a:prstGeom prst="rect">
            <a:avLst/>
          </a:prstGeom>
          <a:solidFill>
            <a:srgbClr val="333E47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sz="1600"/>
          </a:p>
        </p:txBody>
      </p:sp>
    </p:spTree>
    <p:extLst>
      <p:ext uri="{BB962C8B-B14F-4D97-AF65-F5344CB8AC3E}">
        <p14:creationId xmlns:p14="http://schemas.microsoft.com/office/powerpoint/2010/main" val="1989084900"/>
      </p:ext>
    </p:extLst>
  </p:cSld>
  <p:clrMapOvr>
    <a:masterClrMapping/>
  </p:clrMapOvr>
  <p:transition spd="med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+ Content +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1" name="Picture Placeholder 9"/>
          <p:cNvSpPr>
            <a:spLocks noGrp="1"/>
          </p:cNvSpPr>
          <p:nvPr>
            <p:ph type="pic" sz="half" idx="13"/>
          </p:nvPr>
        </p:nvSpPr>
        <p:spPr>
          <a:xfrm>
            <a:off x="7319963" y="0"/>
            <a:ext cx="4872038" cy="6858000"/>
          </a:xfrm>
          <a:prstGeom prst="rect">
            <a:avLst/>
          </a:prstGeom>
        </p:spPr>
        <p:txBody>
          <a:bodyPr lIns="91439" tIns="45719" rIns="91439" bIns="45719">
            <a:noAutofit/>
          </a:bodyPr>
          <a:lstStyle/>
          <a:p>
            <a:endParaRPr/>
          </a:p>
        </p:txBody>
      </p:sp>
      <p:sp>
        <p:nvSpPr>
          <p:cNvPr id="242" name="Title Text"/>
          <p:cNvSpPr txBox="1">
            <a:spLocks noGrp="1"/>
          </p:cNvSpPr>
          <p:nvPr>
            <p:ph type="title"/>
          </p:nvPr>
        </p:nvSpPr>
        <p:spPr>
          <a:xfrm>
            <a:off x="515940" y="438151"/>
            <a:ext cx="6346774" cy="1257259"/>
          </a:xfrm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243" name="Body Level One…"/>
          <p:cNvSpPr txBox="1">
            <a:spLocks noGrp="1"/>
          </p:cNvSpPr>
          <p:nvPr>
            <p:ph type="body" sz="half" idx="1"/>
          </p:nvPr>
        </p:nvSpPr>
        <p:spPr>
          <a:xfrm>
            <a:off x="515938" y="2470106"/>
            <a:ext cx="6346775" cy="3875132"/>
          </a:xfrm>
          <a:prstGeom prst="rect">
            <a:avLst/>
          </a:prstGeom>
        </p:spPr>
        <p:txBody>
          <a:bodyPr/>
          <a:lstStyle/>
          <a:p>
            <a:r>
              <a:t>Body Level One</a:t>
            </a:r>
          </a:p>
          <a:p>
            <a:pPr lvl="1"/>
            <a:r>
              <a:t>Body Level Two</a:t>
            </a:r>
          </a:p>
          <a:p>
            <a:pPr lvl="2"/>
            <a:r>
              <a:t>Body Level Three</a:t>
            </a:r>
          </a:p>
          <a:p>
            <a:pPr lvl="3"/>
            <a:r>
              <a:t>Body Level Four</a:t>
            </a:r>
          </a:p>
          <a:p>
            <a:pPr lvl="4"/>
            <a:r>
              <a:t>Body Level Five</a:t>
            </a:r>
          </a:p>
        </p:txBody>
      </p:sp>
      <p:sp>
        <p:nvSpPr>
          <p:cNvPr id="24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86CB4B4D-7CA3-9044-876B-883B54F8677D}" type="slidenum">
              <a:rPr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6389355"/>
      </p:ext>
    </p:extLst>
  </p:cSld>
  <p:clrMapOvr>
    <a:masterClrMapping/>
  </p:clrMapOvr>
  <p:transition spd="med"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1_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Title Text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Title Text</a:t>
            </a:r>
          </a:p>
        </p:txBody>
      </p:sp>
      <p:sp>
        <p:nvSpPr>
          <p:cNvPr id="58" name="Content Placeholder 5"/>
          <p:cNvSpPr txBox="1">
            <a:spLocks noGrp="1"/>
          </p:cNvSpPr>
          <p:nvPr>
            <p:ph type="body" idx="13"/>
          </p:nvPr>
        </p:nvSpPr>
        <p:spPr>
          <a:xfrm>
            <a:off x="515940" y="1787524"/>
            <a:ext cx="11160125" cy="4176713"/>
          </a:xfrm>
          <a:prstGeom prst="rect">
            <a:avLst/>
          </a:prstGeom>
        </p:spPr>
        <p:txBody>
          <a:bodyPr/>
          <a:lstStyle/>
          <a:p>
            <a:r>
              <a:t>First level of text, no bullet point, Atlas Grotesk Bold, 20 pt.</a:t>
            </a:r>
          </a:p>
          <a:p>
            <a:pPr lvl="1"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Second level of text, no bullet point, Atlas Grotesk Regular, 18 pt.</a:t>
            </a:r>
          </a:p>
          <a:p>
            <a:pPr lvl="1"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Lorem ipsum dolor sit amet, consectetur adipiscing elit, sed do eiusmod tempor incididunt ut labore </a:t>
            </a:r>
            <a:br/>
            <a:r>
              <a:t>et dolore magna aliqua. Ut enim ad minim veniam, quis nostrud exercitation ullamco laboris nisi ut aliquip ex ea commodo consequat.</a:t>
            </a:r>
          </a:p>
          <a:p>
            <a:pPr lvl="1">
              <a:defRPr sz="18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Duis aute irure dolor in reprehenderit in voluptate velit esse cillum dolore eu fugiat nulla pariatur. </a:t>
            </a:r>
          </a:p>
          <a:p>
            <a:pPr marL="228600" lvl="2" indent="-228600">
              <a:buClr>
                <a:srgbClr val="FFC658"/>
              </a:buClr>
              <a:buFont typeface="Arial"/>
              <a:defRPr sz="16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Third level of text, Atlas Grotesk Regular, 16 pt.</a:t>
            </a:r>
          </a:p>
          <a:p>
            <a:pPr marL="452437" lvl="3" indent="-228600">
              <a:spcBef>
                <a:spcPts val="500"/>
              </a:spcBef>
              <a:buClr>
                <a:srgbClr val="FFC658"/>
              </a:buClr>
              <a:buFont typeface="Arial"/>
              <a:defRPr sz="14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Fourth level of text, Atlas Grotesk Regular, 14 pt.</a:t>
            </a:r>
          </a:p>
          <a:p>
            <a:pPr marL="679450" lvl="4" indent="-228600">
              <a:spcBef>
                <a:spcPts val="500"/>
              </a:spcBef>
              <a:buClr>
                <a:srgbClr val="FFC658"/>
              </a:buClr>
              <a:buFont typeface="Arial"/>
              <a:defRPr sz="1200" b="0">
                <a:latin typeface="Atlas Grotesk Regular"/>
                <a:ea typeface="Atlas Grotesk Regular"/>
                <a:cs typeface="Atlas Grotesk Regular"/>
                <a:sym typeface="Atlas Grotesk Regular"/>
              </a:defRPr>
            </a:pPr>
            <a:r>
              <a:t>Fifth level of text, Atlas Grotesk Regular, 12 pt.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52BF803-5DF4-8E4D-9C67-72DB40117F0D}"/>
              </a:ext>
            </a:extLst>
          </p:cNvPr>
          <p:cNvSpPr txBox="1">
            <a:spLocks noGrp="1"/>
          </p:cNvSpPr>
          <p:nvPr>
            <p:ph type="sldNum" sz="quarter" idx="2"/>
          </p:nvPr>
        </p:nvSpPr>
        <p:spPr>
          <a:xfrm>
            <a:off x="520357" y="6491092"/>
            <a:ext cx="178487" cy="138499"/>
          </a:xfrm>
          <a:prstGeom prst="rect">
            <a:avLst/>
          </a:prstGeom>
          <a:ln w="12700">
            <a:miter lim="400000"/>
          </a:ln>
        </p:spPr>
        <p:txBody>
          <a:bodyPr wrap="square" lIns="0" tIns="0" rIns="0" bIns="0" anchor="ctr">
            <a:spAutoFit/>
          </a:bodyPr>
          <a:lstStyle>
            <a:lvl1pPr algn="l">
              <a:defRPr sz="900" b="1">
                <a:latin typeface="Atlas Grotesk Bold"/>
                <a:ea typeface="Atlas Grotesk Bold"/>
                <a:cs typeface="Atlas Grotesk Bold"/>
                <a:sym typeface="Atlas Grotesk"/>
              </a:defRPr>
            </a:lvl1pPr>
          </a:lstStyle>
          <a:p>
            <a:pPr algn="l"/>
            <a:fld id="{86CB4B4D-7CA3-9044-876B-883B54F8677D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0183201"/>
      </p:ext>
    </p:extLst>
  </p:cSld>
  <p:clrMapOvr>
    <a:masterClrMapping/>
  </p:clrMapOvr>
  <p:transition spd="med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522643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59945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1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574761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D2E5683-BAF2-4DBE-BED6-CF778F095C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82E38F-2639-41FF-890D-E05FC218DE4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473738-F55C-494A-B345-A0644CC98A7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1B4428-7569-47F1-A2FD-088903A3A1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A51371-09B7-40EB-A086-4AA4009C2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E38E-58D8-4BE4-9BFA-4B9096E5DB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982072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333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3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333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" hidden="1">
            <a:extLst>
              <a:ext uri="{FF2B5EF4-FFF2-40B4-BE49-F238E27FC236}">
                <a16:creationId xmlns:a16="http://schemas.microsoft.com/office/drawing/2014/main" id="{0C4F1C52-4E00-9B42-8B21-690C46B2CCF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04889" y="268818"/>
            <a:ext cx="5524500" cy="57255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7460522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6EA6FF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19421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0532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9929801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954266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14093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54833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2420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15246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10784" cy="107289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8"/>
            <a:ext cx="5498592" cy="1746503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B66D531-042B-494C-8702-5C43B76E658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8211" y="4274263"/>
            <a:ext cx="8540991" cy="1746501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97857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532068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4606" y="3087490"/>
            <a:ext cx="1722793" cy="683025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994953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55591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pic>
        <p:nvPicPr>
          <p:cNvPr id="6" name="Picture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6738"/>
            <a:ext cx="695452" cy="2774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438223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90162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>
            <a:lvl1pPr>
              <a:spcBef>
                <a:spcPts val="0"/>
              </a:spcBef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  <a:p>
            <a:pPr lvl="1"/>
            <a:r>
              <a:rPr lang="en-US" dirty="0"/>
              <a:t>Third level</a:t>
            </a:r>
          </a:p>
          <a:p>
            <a:pPr lvl="1"/>
            <a:r>
              <a:rPr lang="en-US" dirty="0"/>
              <a:t>Fourth level</a:t>
            </a:r>
          </a:p>
          <a:p>
            <a:pPr lvl="1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05200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7140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92608" y="292608"/>
            <a:ext cx="5510784" cy="1072896"/>
          </a:xfrm>
        </p:spPr>
        <p:txBody>
          <a:bodyPr/>
          <a:lstStyle>
            <a:lvl1pPr>
              <a:defRPr sz="2133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182880" y="1511808"/>
            <a:ext cx="5608320" cy="4482592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>
            <a:lvl1pPr>
              <a:defRPr baseline="0"/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561893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182882" y="121920"/>
            <a:ext cx="11704229" cy="5872480"/>
          </a:xfrm>
        </p:spPr>
        <p:txBody>
          <a:bodyPr/>
          <a:lstStyle>
            <a:lvl1pPr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448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7416713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448530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/>
              <a:t>Click </a:t>
            </a:r>
            <a:r>
              <a:rPr lang="en-US" dirty="0"/>
              <a:t>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8537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rgbClr val="1B75BC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8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0854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388610" y="1658112"/>
            <a:ext cx="5498501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783666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280416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907852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88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9436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1986135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8570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436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4925339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split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8" y="268224"/>
            <a:ext cx="5522885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Black rectangle">
            <a:extLst>
              <a:ext uri="{FF2B5EF4-FFF2-40B4-BE49-F238E27FC236}">
                <a16:creationId xmlns:a16="http://schemas.microsoft.com/office/drawing/2014/main" id="{612CE115-19C6-174D-97D1-85AD78D8BE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b="0" i="0" dirty="0">
              <a:solidFill>
                <a:srgbClr val="FFFFFF"/>
              </a:solidFill>
              <a:latin typeface="+mn-lt"/>
              <a:cs typeface="Arial"/>
            </a:endParaRP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6388608" y="268224"/>
            <a:ext cx="5498592" cy="5726176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38267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110753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54051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3964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5498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1081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computer&#10;&#10;Description automatically generated">
            <a:extLst>
              <a:ext uri="{FF2B5EF4-FFF2-40B4-BE49-F238E27FC236}">
                <a16:creationId xmlns:a16="http://schemas.microsoft.com/office/drawing/2014/main" id="{970FA471-EABE-AA48-94B5-E607531A54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99138" y="0"/>
            <a:ext cx="15291138" cy="68580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421033D-2425-EC42-BBD4-8BBE247DDB8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0743" y="273828"/>
            <a:ext cx="10893251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F716246-CED0-7F4A-9980-0767B0193FA5}"/>
              </a:ext>
            </a:extLst>
          </p:cNvPr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9" name="Rectangle: Rounded Corners 13">
              <a:extLst>
                <a:ext uri="{FF2B5EF4-FFF2-40B4-BE49-F238E27FC236}">
                  <a16:creationId xmlns:a16="http://schemas.microsoft.com/office/drawing/2014/main" id="{91375636-B3CB-9F48-A191-7DAA2AE31E03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0" name="Rectangle: Rounded Corners 14">
              <a:extLst>
                <a:ext uri="{FF2B5EF4-FFF2-40B4-BE49-F238E27FC236}">
                  <a16:creationId xmlns:a16="http://schemas.microsoft.com/office/drawing/2014/main" id="{181DC612-8C29-804C-8E62-D7C29A12AE43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1" name="Rectangle: Rounded Corners 15">
              <a:extLst>
                <a:ext uri="{FF2B5EF4-FFF2-40B4-BE49-F238E27FC236}">
                  <a16:creationId xmlns:a16="http://schemas.microsoft.com/office/drawing/2014/main" id="{0B8DE247-9EE4-904A-A0AE-72D3946770B6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:p14="http://schemas.microsoft.com/office/powerpoint/2010/main" val="419675857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6096000" cy="3429001"/>
          </a:xfrm>
          <a:solidFill>
            <a:srgbClr val="0530AD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7"/>
          </p:nvPr>
        </p:nvSpPr>
        <p:spPr>
          <a:xfrm>
            <a:off x="6096000" y="0"/>
            <a:ext cx="3048000" cy="3429000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8"/>
          </p:nvPr>
        </p:nvSpPr>
        <p:spPr>
          <a:xfrm>
            <a:off x="9144000" y="0"/>
            <a:ext cx="3048000" cy="3429000"/>
          </a:xfrm>
          <a:solidFill>
            <a:srgbClr val="061F80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6096000" cy="3431116"/>
          </a:xfrm>
          <a:solidFill>
            <a:schemeClr val="tx1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4"/>
          <p:cNvSpPr>
            <a:spLocks noGrp="1"/>
          </p:cNvSpPr>
          <p:nvPr>
            <p:ph sz="quarter" idx="19"/>
          </p:nvPr>
        </p:nvSpPr>
        <p:spPr>
          <a:xfrm>
            <a:off x="6096000" y="3426885"/>
            <a:ext cx="6096000" cy="3431116"/>
          </a:xfrm>
          <a:solidFill>
            <a:srgbClr val="0530AD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23243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-1"/>
            <a:ext cx="12192000" cy="3425951"/>
          </a:xfrm>
          <a:noFill/>
        </p:spPr>
        <p:txBody>
          <a:bodyPr lIns="182880" tIns="164592" rIns="228600" bIns="228600"/>
          <a:lstStyle>
            <a:lvl1pPr>
              <a:defRPr sz="6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3" name="Content Placeholder 1"/>
          <p:cNvSpPr>
            <a:spLocks noGrp="1"/>
          </p:cNvSpPr>
          <p:nvPr>
            <p:ph sz="quarter" idx="20"/>
          </p:nvPr>
        </p:nvSpPr>
        <p:spPr>
          <a:xfrm>
            <a:off x="0" y="3426885"/>
            <a:ext cx="3048000" cy="343111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quarter" idx="19"/>
          </p:nvPr>
        </p:nvSpPr>
        <p:spPr>
          <a:xfrm>
            <a:off x="3048001" y="3426885"/>
            <a:ext cx="3048000" cy="3431116"/>
          </a:xfrm>
          <a:solidFill>
            <a:srgbClr val="054ADA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quarter" idx="17"/>
          </p:nvPr>
        </p:nvSpPr>
        <p:spPr>
          <a:xfrm>
            <a:off x="6096000" y="3426883"/>
            <a:ext cx="3048000" cy="3431117"/>
          </a:xfrm>
          <a:solidFill>
            <a:schemeClr val="accent2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4"/>
          <p:cNvSpPr>
            <a:spLocks noGrp="1"/>
          </p:cNvSpPr>
          <p:nvPr>
            <p:ph sz="quarter" idx="18"/>
          </p:nvPr>
        </p:nvSpPr>
        <p:spPr>
          <a:xfrm>
            <a:off x="9144000" y="3426883"/>
            <a:ext cx="3048000" cy="3431117"/>
          </a:xfrm>
          <a:solidFill>
            <a:srgbClr val="6EA6FF"/>
          </a:solidFill>
          <a:ln>
            <a:noFill/>
          </a:ln>
        </p:spPr>
        <p:txBody>
          <a:bodyPr lIns="219456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6476213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701800"/>
          </a:xfrm>
          <a:solidFill>
            <a:schemeClr val="tx2"/>
          </a:solidFill>
        </p:spPr>
        <p:txBody>
          <a:bodyPr lIns="210312" tIns="201168" rIns="228600" bIns="2286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Picture Placeholder"/>
          <p:cNvSpPr>
            <a:spLocks noGrp="1"/>
          </p:cNvSpPr>
          <p:nvPr>
            <p:ph type="pic" sz="quarter" idx="12"/>
          </p:nvPr>
        </p:nvSpPr>
        <p:spPr>
          <a:xfrm>
            <a:off x="0" y="1701800"/>
            <a:ext cx="12192000" cy="51562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22770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64096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-3" y="3429000"/>
            <a:ext cx="3048004" cy="3429000"/>
          </a:xfrm>
          <a:solidFill>
            <a:schemeClr val="tx2"/>
          </a:solidFill>
        </p:spPr>
        <p:txBody>
          <a:bodyPr lIns="219456" tIns="201168" rIns="228600" bIns="228600"/>
          <a:lstStyle>
            <a:lvl1pPr>
              <a:buClr>
                <a:schemeClr val="tx1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tx1"/>
              </a:buClr>
              <a:defRPr sz="1333">
                <a:solidFill>
                  <a:schemeClr val="tx1"/>
                </a:solidFill>
              </a:defRPr>
            </a:lvl2pPr>
            <a:lvl3pPr>
              <a:buClr>
                <a:schemeClr val="tx1"/>
              </a:buClr>
              <a:defRPr sz="1333">
                <a:solidFill>
                  <a:schemeClr val="tx1"/>
                </a:solidFill>
              </a:defRPr>
            </a:lvl3pPr>
            <a:lvl4pPr>
              <a:buClr>
                <a:schemeClr val="tx1"/>
              </a:buClr>
              <a:defRPr sz="1333">
                <a:solidFill>
                  <a:schemeClr val="tx1"/>
                </a:solidFill>
              </a:defRPr>
            </a:lvl4pPr>
            <a:lvl5pPr>
              <a:buClr>
                <a:schemeClr val="tx1"/>
              </a:buClr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335538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/>
          <p:cNvSpPr>
            <a:spLocks noGrp="1"/>
          </p:cNvSpPr>
          <p:nvPr>
            <p:ph sz="quarter" idx="12"/>
          </p:nvPr>
        </p:nvSpPr>
        <p:spPr>
          <a:xfrm>
            <a:off x="0" y="0"/>
            <a:ext cx="3048000" cy="6864096"/>
          </a:xfrm>
          <a:solidFill>
            <a:schemeClr val="accent2"/>
          </a:solidFill>
        </p:spPr>
        <p:txBody>
          <a:bodyPr lIns="219456" tIns="201168" rIns="228600" bIns="228600"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quarter" idx="13"/>
          </p:nvPr>
        </p:nvSpPr>
        <p:spPr>
          <a:xfrm>
            <a:off x="3048000" y="0"/>
            <a:ext cx="3048000" cy="6864096"/>
          </a:xfrm>
          <a:solidFill>
            <a:srgbClr val="054ADA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quarter" idx="14"/>
          </p:nvPr>
        </p:nvSpPr>
        <p:spPr>
          <a:xfrm>
            <a:off x="6096000" y="0"/>
            <a:ext cx="3048000" cy="6864096"/>
          </a:xfrm>
          <a:solidFill>
            <a:srgbClr val="0530AD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6864096"/>
          </a:xfrm>
          <a:solidFill>
            <a:srgbClr val="061F80"/>
          </a:solidFill>
        </p:spPr>
        <p:txBody>
          <a:bodyPr lIns="219456" tIns="201168" rIns="228600" bIns="228600"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123279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content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Content Placeholder"/>
          <p:cNvSpPr>
            <a:spLocks noGrp="1"/>
          </p:cNvSpPr>
          <p:nvPr>
            <p:ph sz="quarter" idx="13"/>
          </p:nvPr>
        </p:nvSpPr>
        <p:spPr>
          <a:xfrm>
            <a:off x="3352800" y="1658112"/>
            <a:ext cx="8534400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928647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ext (1/4), blank (3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19415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1: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Picture Placeholder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</p:spPr>
        <p:txBody>
          <a:bodyPr lIns="91440" tIns="91440" rIns="91440" bIns="91440"/>
          <a:lstStyle/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797310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2: title, text (2/4), quote (2/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1"/>
          <p:cNvSpPr>
            <a:spLocks noGrp="1"/>
          </p:cNvSpPr>
          <p:nvPr>
            <p:ph type="body" sz="quarter" idx="12"/>
          </p:nvPr>
        </p:nvSpPr>
        <p:spPr>
          <a:xfrm>
            <a:off x="292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340608" y="1658112"/>
            <a:ext cx="2450592" cy="43362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364224" y="1621536"/>
            <a:ext cx="5522976" cy="4372864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15061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"/>
          <p:cNvSpPr>
            <a:spLocks noGrp="1"/>
          </p:cNvSpPr>
          <p:nvPr>
            <p:ph type="body" sz="quarter" idx="12"/>
          </p:nvPr>
        </p:nvSpPr>
        <p:spPr>
          <a:xfrm>
            <a:off x="292608" y="268224"/>
            <a:ext cx="2450592" cy="5726176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able Placeholder"/>
          <p:cNvSpPr>
            <a:spLocks noGrp="1"/>
          </p:cNvSpPr>
          <p:nvPr>
            <p:ph type="tbl" sz="quarter" idx="13"/>
          </p:nvPr>
        </p:nvSpPr>
        <p:spPr>
          <a:xfrm>
            <a:off x="3340609" y="268224"/>
            <a:ext cx="8546501" cy="5726176"/>
          </a:xfrm>
        </p:spPr>
        <p:txBody>
          <a:bodyPr lIns="0" tIns="0" rIns="91440" bIns="91440"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6150473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2"/>
            <a:ext cx="12192000" cy="1400173"/>
          </a:xfrm>
          <a:prstGeom prst="rect">
            <a:avLst/>
          </a:prstGeom>
          <a:solidFill>
            <a:srgbClr val="0072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980743" y="273828"/>
            <a:ext cx="8885939" cy="887949"/>
          </a:xfrm>
        </p:spPr>
        <p:txBody>
          <a:bodyPr anchor="ctr">
            <a:normAutofit/>
          </a:bodyPr>
          <a:lstStyle>
            <a:lvl1pPr algn="l">
              <a:defRPr sz="4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  <a:solidFill>
            <a:schemeClr val="bg1"/>
          </a:solidFill>
        </p:grpSpPr>
        <p:sp>
          <p:nvSpPr>
            <p:cNvPr id="14" name="Rectangle: Rounded Corners 13"/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5" name="Rectangle: Rounded Corners 14"/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16" name="Rectangle: Rounded Corners 15"/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276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981075" y="1674001"/>
            <a:ext cx="10893425" cy="3961486"/>
          </a:xfrm>
        </p:spPr>
        <p:txBody>
          <a:bodyPr>
            <a:normAutofit/>
          </a:bodyPr>
          <a:lstStyle>
            <a:lvl1pPr marL="457200" indent="-457200">
              <a:spcBef>
                <a:spcPts val="600"/>
              </a:spcBef>
              <a:buFontTx/>
              <a:buBlip>
                <a:blip r:embed="rId3"/>
              </a:buBlip>
              <a:defRPr sz="3200">
                <a:solidFill>
                  <a:schemeClr val="bg2"/>
                </a:solidFill>
              </a:defRPr>
            </a:lvl1pPr>
            <a:lvl2pPr>
              <a:buClr>
                <a:srgbClr val="0070B7"/>
              </a:buClr>
              <a:defRPr sz="2800">
                <a:solidFill>
                  <a:schemeClr val="bg2"/>
                </a:solidFill>
              </a:defRPr>
            </a:lvl2pPr>
            <a:lvl3pPr>
              <a:buClr>
                <a:srgbClr val="0070B7"/>
              </a:buClr>
              <a:defRPr sz="2400">
                <a:solidFill>
                  <a:schemeClr val="bg2"/>
                </a:solidFill>
              </a:defRPr>
            </a:lvl3pPr>
            <a:lvl4pPr>
              <a:buClr>
                <a:srgbClr val="0070B7"/>
              </a:buClr>
              <a:defRPr sz="2000">
                <a:solidFill>
                  <a:schemeClr val="bg2"/>
                </a:solidFill>
              </a:defRPr>
            </a:lvl4pPr>
            <a:lvl5pPr>
              <a:buClr>
                <a:srgbClr val="0070B7"/>
              </a:buClr>
              <a:defRPr sz="18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9984228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with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1606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(no foote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36733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1072896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292608" y="1682496"/>
            <a:ext cx="5498592" cy="1746504"/>
          </a:xfrm>
        </p:spPr>
        <p:txBody>
          <a:bodyPr/>
          <a:lstStyle>
            <a:lvl1pPr>
              <a:spcBef>
                <a:spcPts val="0"/>
              </a:spcBef>
              <a:defRPr sz="1333"/>
            </a:lvl1pPr>
            <a:lvl2pPr marL="0" indent="0">
              <a:spcBef>
                <a:spcPts val="0"/>
              </a:spcBef>
              <a:buNone/>
              <a:defRPr/>
            </a:lvl2pPr>
            <a:lvl3pPr marL="268813" indent="0">
              <a:buNone/>
              <a:defRPr/>
            </a:lvl3pPr>
            <a:lvl4pPr marL="579960" indent="0">
              <a:buNone/>
              <a:defRPr/>
            </a:lvl4pPr>
            <a:lvl5pPr marL="842423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1C6F2CA-B8B6-BF4F-8900-E2319DA9DD3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92608" y="4279392"/>
            <a:ext cx="8546592" cy="1743456"/>
          </a:xfrm>
        </p:spPr>
        <p:txBody>
          <a:bodyPr anchor="b"/>
          <a:lstStyle>
            <a:lvl1pPr>
              <a:spcBef>
                <a:spcPts val="400"/>
              </a:spcBef>
              <a:defRPr sz="800"/>
            </a:lvl1pPr>
            <a:lvl2pPr>
              <a:defRPr sz="8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65631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bm sign-of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30928" y="3083847"/>
            <a:ext cx="1730144" cy="690309"/>
          </a:xfrm>
          <a:prstGeom prst="rect">
            <a:avLst/>
          </a:prstGeom>
        </p:spPr>
      </p:pic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4" name="Slide Number Placeholder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9812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D999D4-B456-9943-89B7-30D56181CE18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11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20148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>
          <a:xfrm>
            <a:off x="304800" y="6437376"/>
            <a:ext cx="8534400" cy="18288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04800" y="271708"/>
            <a:ext cx="5486401" cy="5972459"/>
          </a:xfrm>
        </p:spPr>
        <p:txBody>
          <a:bodyPr/>
          <a:lstStyle>
            <a:lvl1pPr>
              <a:lnSpc>
                <a:spcPct val="90000"/>
              </a:lnSpc>
              <a:defRPr sz="3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8" name="Picture 7" descr="ibm_gry.pn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49" y="6273780"/>
            <a:ext cx="695452" cy="2819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51619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991669"/>
          </a:xfrm>
        </p:spPr>
        <p:txBody>
          <a:bodyPr/>
          <a:lstStyle>
            <a:lvl1pPr>
              <a:lnSpc>
                <a:spcPct val="90000"/>
              </a:lnSpc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365026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(with page content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1409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04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 marL="230712" indent="-230712">
              <a:spcBef>
                <a:spcPts val="0"/>
              </a:spcBef>
              <a:tabLst/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400800" y="1498600"/>
            <a:ext cx="5486400" cy="4779264"/>
          </a:xfrm>
        </p:spPr>
        <p:txBody>
          <a:bodyPr/>
          <a:lstStyle>
            <a:lvl1pPr marL="0" indent="0">
              <a:spcBef>
                <a:spcPts val="0"/>
              </a:spcBef>
              <a:tabLst>
                <a:tab pos="5253435" algn="dec"/>
              </a:tabLst>
              <a:defRPr/>
            </a:lvl1pPr>
            <a:lvl2pPr>
              <a:spcBef>
                <a:spcPts val="0"/>
              </a:spcBef>
              <a:defRPr/>
            </a:lvl2pPr>
            <a:lvl3pPr>
              <a:spcBef>
                <a:spcPts val="0"/>
              </a:spcBef>
              <a:defRPr/>
            </a:lvl3pPr>
            <a:lvl4pPr>
              <a:spcBef>
                <a:spcPts val="0"/>
              </a:spcBef>
              <a:defRPr/>
            </a:lvl4pPr>
            <a:lvl5pPr>
              <a:spcBef>
                <a:spcPts val="0"/>
              </a:spcBef>
              <a:defRPr/>
            </a:lvl5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1467"/>
              </a:spcBef>
              <a:spcAft>
                <a:spcPts val="0"/>
              </a:spcAft>
              <a:buClrTx/>
              <a:buSzTx/>
              <a:buFont typeface="Arial"/>
              <a:buNone/>
              <a:tabLst>
                <a:tab pos="5364346" algn="r"/>
              </a:tabLst>
              <a:defRPr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7467364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249243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act, number, half-image (bleed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80417"/>
            <a:ext cx="5486400" cy="1338409"/>
          </a:xfrm>
        </p:spPr>
        <p:txBody>
          <a:bodyPr/>
          <a:lstStyle>
            <a:lvl1pPr>
              <a:defRPr sz="2133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2015407"/>
            <a:ext cx="5486400" cy="4145280"/>
          </a:xfrm>
        </p:spPr>
        <p:txBody>
          <a:bodyPr/>
          <a:lstStyle>
            <a:lvl1pPr>
              <a:lnSpc>
                <a:spcPct val="90000"/>
              </a:lnSpc>
              <a:spcBef>
                <a:spcPts val="0"/>
              </a:spcBef>
              <a:defRPr sz="128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6212552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6ADDA4A8-2177-4EAB-8A5A-96D9411369A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6286"/>
          </a:xfrm>
          <a:prstGeom prst="rect">
            <a:avLst/>
          </a:prstGeom>
        </p:spPr>
      </p:pic>
      <p:pic>
        <p:nvPicPr>
          <p:cNvPr id="5" name="Picture 4" descr="A picture containing car, street, mirror&#10;&#10;Description automatically generated">
            <a:extLst>
              <a:ext uri="{FF2B5EF4-FFF2-40B4-BE49-F238E27FC236}">
                <a16:creationId xmlns:a16="http://schemas.microsoft.com/office/drawing/2014/main" id="{C022A468-70FB-4B13-9EC0-8A77FD5A0F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" b="-5056"/>
          <a:stretch/>
        </p:blipFill>
        <p:spPr>
          <a:xfrm>
            <a:off x="0" y="0"/>
            <a:ext cx="12192000" cy="7204364"/>
          </a:xfrm>
          <a:prstGeom prst="rect">
            <a:avLst/>
          </a:prstGeom>
          <a:effectLst/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9889" y="6288260"/>
            <a:ext cx="488004" cy="365125"/>
          </a:xfrm>
        </p:spPr>
        <p:txBody>
          <a:bodyPr rIns="36000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3749FE41-B32F-4A5A-9E38-3BC29EC2F4E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55603" y="216217"/>
            <a:ext cx="6200428" cy="998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9131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353569"/>
            <a:ext cx="11582400" cy="5964767"/>
          </a:xfrm>
        </p:spPr>
        <p:txBody>
          <a:bodyPr/>
          <a:lstStyle>
            <a:lvl1pPr>
              <a:lnSpc>
                <a:spcPct val="90000"/>
              </a:lnSpc>
              <a:defRPr sz="128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253393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6916616" cy="6027740"/>
          </a:xfrm>
        </p:spPr>
        <p:txBody>
          <a:bodyPr/>
          <a:lstStyle>
            <a:lvl1pPr marL="156629" indent="-156629">
              <a:tabLst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51949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577073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658368"/>
            <a:ext cx="5486400" cy="5599640"/>
          </a:xfrm>
        </p:spPr>
        <p:txBody>
          <a:bodyPr/>
          <a:lstStyle>
            <a:lvl1pPr>
              <a:spcBef>
                <a:spcPts val="1467"/>
              </a:spcBef>
              <a:spcAft>
                <a:spcPts val="0"/>
              </a:spcAft>
              <a:defRPr/>
            </a:lvl1pPr>
            <a:lvl2pPr>
              <a:spcBef>
                <a:spcPts val="1467"/>
              </a:spcBef>
              <a:defRPr/>
            </a:lvl2pPr>
            <a:lvl3pPr>
              <a:spcBef>
                <a:spcPts val="1467"/>
              </a:spcBef>
              <a:defRPr/>
            </a:lvl3pPr>
            <a:lvl4pPr>
              <a:spcBef>
                <a:spcPts val="1467"/>
              </a:spcBef>
              <a:defRPr/>
            </a:lvl4pPr>
            <a:lvl5pPr>
              <a:spcBef>
                <a:spcPts val="1467"/>
              </a:spcBef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7418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6028956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12791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304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400800" y="1499617"/>
            <a:ext cx="5486400" cy="4781127"/>
          </a:xfrm>
        </p:spPr>
        <p:txBody>
          <a:bodyPr/>
          <a:lstStyle>
            <a:lvl1pPr>
              <a:spcBef>
                <a:spcPts val="0"/>
              </a:spcBef>
              <a:defRPr sz="1867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442062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60"/>
            <a:ext cx="5486400" cy="4786208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61"/>
            <a:ext cx="5486400" cy="478620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11053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text (two columns, different text size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669544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04800" y="1327358"/>
            <a:ext cx="5486400" cy="4916809"/>
          </a:xfrm>
        </p:spPr>
        <p:txBody>
          <a:bodyPr/>
          <a:lstStyle>
            <a:lvl1pPr>
              <a:defRPr sz="3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400800" y="1488865"/>
            <a:ext cx="5486400" cy="4755303"/>
          </a:xfrm>
        </p:spPr>
        <p:txBody>
          <a:bodyPr/>
          <a:lstStyle>
            <a:lvl1pPr>
              <a:defRPr sz="1867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092999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four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8534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57959"/>
            <a:ext cx="2438400" cy="478620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57959"/>
            <a:ext cx="2438400" cy="478620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8592064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548640"/>
            <a:ext cx="5486400" cy="85344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0"/>
            <a:ext cx="5486400" cy="4781127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1531610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columns), half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85344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39"/>
            <a:ext cx="2438400" cy="4781127"/>
          </a:xfrm>
        </p:spPr>
        <p:txBody>
          <a:bodyPr/>
          <a:lstStyle>
            <a:lvl1pPr>
              <a:spcBef>
                <a:spcPts val="1467"/>
              </a:spcBef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5"/>
          </p:nvPr>
        </p:nvSpPr>
        <p:spPr>
          <a:xfrm>
            <a:off x="3352800" y="1463039"/>
            <a:ext cx="2438400" cy="4781127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39625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two narrow column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>
          <a:xfrm>
            <a:off x="9448800" y="1463041"/>
            <a:ext cx="2438400" cy="4668593"/>
          </a:xfrm>
        </p:spPr>
        <p:txBody>
          <a:bodyPr/>
          <a:lstStyle>
            <a:lvl1pPr>
              <a:defRPr sz="2133"/>
            </a:lvl1pPr>
            <a:lvl2pPr marL="0" indent="0">
              <a:spcBef>
                <a:spcPts val="1467"/>
              </a:spcBef>
              <a:buFontTx/>
              <a:buNone/>
              <a:defRPr sz="1467"/>
            </a:lvl2pPr>
            <a:lvl3pPr>
              <a:defRPr sz="1467"/>
            </a:lvl3pPr>
            <a:lvl4pPr>
              <a:defRPr sz="1467"/>
            </a:lvl4pPr>
            <a:lvl5pPr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1764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pic>
        <p:nvPicPr>
          <p:cNvPr id="7" name="Picture" descr="IBM 8-bar logo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91750" y="6257437"/>
            <a:ext cx="695452" cy="275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59834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, title, text (dark backgro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endParaRPr lang="en-US" sz="1600" err="1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377696"/>
            <a:ext cx="5486400" cy="475488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400800" y="1481716"/>
            <a:ext cx="5486400" cy="4668593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 marL="0" indent="0">
              <a:spcBef>
                <a:spcPts val="1467"/>
              </a:spcBef>
              <a:buFontTx/>
              <a:buNone/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68225"/>
            <a:ext cx="5486400" cy="400049"/>
          </a:xfrm>
        </p:spPr>
        <p:txBody>
          <a:bodyPr/>
          <a:lstStyle>
            <a:lvl1pPr>
              <a:defRPr sz="1467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5829580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5"/>
          </p:nvPr>
        </p:nvSpPr>
        <p:spPr>
          <a:xfrm>
            <a:off x="6096000" y="0"/>
            <a:ext cx="6096000" cy="6858000"/>
          </a:xfrm>
        </p:spPr>
        <p:txBody>
          <a:bodyPr/>
          <a:lstStyle/>
          <a:p>
            <a:r>
              <a:rPr lang="en-US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995876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half-blank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8705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359232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268224"/>
            <a:ext cx="5486400" cy="508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0664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sight, text,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9144000" y="6443224"/>
            <a:ext cx="2743200" cy="18288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04800" y="243841"/>
            <a:ext cx="5486400" cy="400049"/>
          </a:xfrm>
        </p:spPr>
        <p:txBody>
          <a:bodyPr/>
          <a:lstStyle>
            <a:lvl1pPr>
              <a:defRPr sz="2133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304800" y="1463041"/>
            <a:ext cx="5486400" cy="4651641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867"/>
            </a:lvl3pPr>
            <a:lvl4pPr>
              <a:defRPr sz="1867"/>
            </a:lvl4pPr>
            <a:lvl5pPr>
              <a:defRPr sz="1867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8063409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3 med, 2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1" y="3429000"/>
            <a:ext cx="6096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6096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4000" y="0"/>
            <a:ext cx="3048000" cy="3429000"/>
          </a:xfrm>
          <a:solidFill>
            <a:schemeClr val="tx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0" y="0"/>
            <a:ext cx="3048000" cy="3429000"/>
          </a:xfrm>
          <a:solidFill>
            <a:schemeClr val="tx2">
              <a:lumMod val="50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6095999" cy="3429001"/>
          </a:xfrm>
          <a:solidFill>
            <a:schemeClr val="accent2"/>
          </a:solidFill>
        </p:spPr>
        <p:txBody>
          <a:bodyPr lIns="228600" tIns="201168" rIns="228600" bIns="22860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667432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1 large, 4 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5"/>
          </p:nvPr>
        </p:nvSpPr>
        <p:spPr>
          <a:xfrm>
            <a:off x="9143997" y="3429000"/>
            <a:ext cx="3048000" cy="3429000"/>
          </a:xfrm>
          <a:solidFill>
            <a:schemeClr val="accent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3048000" y="3429000"/>
            <a:ext cx="3048000" cy="3429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13"/>
          <p:cNvSpPr>
            <a:spLocks noGrp="1"/>
          </p:cNvSpPr>
          <p:nvPr>
            <p:ph sz="quarter" idx="17"/>
          </p:nvPr>
        </p:nvSpPr>
        <p:spPr>
          <a:xfrm>
            <a:off x="6096002" y="3429000"/>
            <a:ext cx="3047996" cy="3429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8"/>
          </p:nvPr>
        </p:nvSpPr>
        <p:spPr>
          <a:xfrm>
            <a:off x="0" y="3429000"/>
            <a:ext cx="3048000" cy="3429000"/>
          </a:xfrm>
          <a:solidFill>
            <a:schemeClr val="bg1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3429001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 sz="64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429095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-1" y="-1"/>
            <a:ext cx="12191999" cy="1720852"/>
          </a:xfrm>
          <a:solidFill>
            <a:schemeClr val="tx1"/>
          </a:solidFill>
        </p:spPr>
        <p:txBody>
          <a:bodyPr lIns="228600" tIns="201168" rIns="228600" bIns="228600"/>
          <a:lstStyle>
            <a:lvl1pPr>
              <a:defRPr sz="3200"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1084229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black box) over image(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3810000"/>
            <a:ext cx="3048000" cy="3048000"/>
          </a:xfrm>
          <a:solidFill>
            <a:schemeClr val="tx1"/>
          </a:solidFill>
        </p:spPr>
        <p:txBody>
          <a:bodyPr lIns="228600" tIns="155448" rIns="228600" bIns="228600"/>
          <a:lstStyle>
            <a:lvl1pPr>
              <a:defRPr>
                <a:solidFill>
                  <a:schemeClr val="bg2"/>
                </a:solidFill>
              </a:defRPr>
            </a:lvl1pPr>
            <a:lvl2pPr>
              <a:defRPr sz="1333">
                <a:solidFill>
                  <a:schemeClr val="bg2"/>
                </a:solidFill>
              </a:defRPr>
            </a:lvl2pPr>
            <a:lvl3pPr>
              <a:defRPr sz="1333">
                <a:solidFill>
                  <a:schemeClr val="bg2"/>
                </a:solidFill>
              </a:defRPr>
            </a:lvl3pPr>
            <a:lvl4pPr>
              <a:defRPr sz="1333">
                <a:solidFill>
                  <a:schemeClr val="bg2"/>
                </a:solidFill>
              </a:defRPr>
            </a:lvl4pPr>
            <a:lvl5pPr>
              <a:defRPr sz="1333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01890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oxes (4 t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9"/>
          </p:nvPr>
        </p:nvSpPr>
        <p:spPr>
          <a:xfrm>
            <a:off x="0" y="-1"/>
            <a:ext cx="3048000" cy="6858000"/>
          </a:xfrm>
          <a:solidFill>
            <a:schemeClr val="tx1"/>
          </a:solidFill>
        </p:spPr>
        <p:txBody>
          <a:bodyPr lIns="228600" tIns="182880" rIns="228600" bIns="228600"/>
          <a:lstStyle>
            <a:lvl1pPr>
              <a:defRPr sz="2133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20"/>
          </p:nvPr>
        </p:nvSpPr>
        <p:spPr>
          <a:xfrm>
            <a:off x="3048000" y="0"/>
            <a:ext cx="3048000" cy="6858000"/>
          </a:xfrm>
          <a:solidFill>
            <a:schemeClr val="accent2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5" name="Content Placeholder 14"/>
          <p:cNvSpPr>
            <a:spLocks noGrp="1"/>
          </p:cNvSpPr>
          <p:nvPr>
            <p:ph sz="quarter" idx="21"/>
          </p:nvPr>
        </p:nvSpPr>
        <p:spPr>
          <a:xfrm>
            <a:off x="6096000" y="0"/>
            <a:ext cx="3048000" cy="6858000"/>
          </a:xfrm>
          <a:solidFill>
            <a:schemeClr val="accent3"/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16"/>
          <p:cNvSpPr>
            <a:spLocks noGrp="1"/>
          </p:cNvSpPr>
          <p:nvPr>
            <p:ph sz="quarter" idx="22"/>
          </p:nvPr>
        </p:nvSpPr>
        <p:spPr>
          <a:xfrm>
            <a:off x="9144000" y="0"/>
            <a:ext cx="3048000" cy="6858000"/>
          </a:xfrm>
          <a:solidFill>
            <a:schemeClr val="tx2">
              <a:lumMod val="75000"/>
            </a:schemeClr>
          </a:solidFill>
        </p:spPr>
        <p:txBody>
          <a:bodyPr lIns="228600" tIns="192024" rIns="228600" bIns="228600"/>
          <a:lstStyle>
            <a:lvl1pPr>
              <a:defRPr sz="1867">
                <a:solidFill>
                  <a:schemeClr val="bg2"/>
                </a:solidFill>
              </a:defRPr>
            </a:lvl1pPr>
            <a:lvl2pPr>
              <a:defRPr sz="1467">
                <a:solidFill>
                  <a:schemeClr val="bg2"/>
                </a:solidFill>
              </a:defRPr>
            </a:lvl2pPr>
            <a:lvl3pPr>
              <a:defRPr sz="1467">
                <a:solidFill>
                  <a:schemeClr val="bg2"/>
                </a:solidFill>
              </a:defRPr>
            </a:lvl3pPr>
            <a:lvl4pPr>
              <a:defRPr sz="1467">
                <a:solidFill>
                  <a:schemeClr val="bg2"/>
                </a:solidFill>
              </a:defRPr>
            </a:lvl4pPr>
            <a:lvl5pPr>
              <a:defRPr sz="1467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85987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theme" Target="../theme/theme2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26" Type="http://schemas.openxmlformats.org/officeDocument/2006/relationships/slideLayout" Target="../slideLayouts/slideLayout67.xml"/><Relationship Id="rId3" Type="http://schemas.openxmlformats.org/officeDocument/2006/relationships/slideLayout" Target="../slideLayouts/slideLayout44.xml"/><Relationship Id="rId21" Type="http://schemas.openxmlformats.org/officeDocument/2006/relationships/slideLayout" Target="../slideLayouts/slideLayout62.xml"/><Relationship Id="rId34" Type="http://schemas.openxmlformats.org/officeDocument/2006/relationships/theme" Target="../theme/theme3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5" Type="http://schemas.openxmlformats.org/officeDocument/2006/relationships/slideLayout" Target="../slideLayouts/slideLayout66.xml"/><Relationship Id="rId33" Type="http://schemas.openxmlformats.org/officeDocument/2006/relationships/slideLayout" Target="../slideLayouts/slideLayout74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29" Type="http://schemas.openxmlformats.org/officeDocument/2006/relationships/slideLayout" Target="../slideLayouts/slideLayout70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24" Type="http://schemas.openxmlformats.org/officeDocument/2006/relationships/slideLayout" Target="../slideLayouts/slideLayout65.xml"/><Relationship Id="rId32" Type="http://schemas.openxmlformats.org/officeDocument/2006/relationships/slideLayout" Target="../slideLayouts/slideLayout73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23" Type="http://schemas.openxmlformats.org/officeDocument/2006/relationships/slideLayout" Target="../slideLayouts/slideLayout64.xml"/><Relationship Id="rId28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31" Type="http://schemas.openxmlformats.org/officeDocument/2006/relationships/slideLayout" Target="../slideLayouts/slideLayout72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slideLayout" Target="../slideLayouts/slideLayout63.xml"/><Relationship Id="rId27" Type="http://schemas.openxmlformats.org/officeDocument/2006/relationships/slideLayout" Target="../slideLayouts/slideLayout68.xml"/><Relationship Id="rId30" Type="http://schemas.openxmlformats.org/officeDocument/2006/relationships/slideLayout" Target="../slideLayouts/slideLayout71.xml"/><Relationship Id="rId8" Type="http://schemas.openxmlformats.org/officeDocument/2006/relationships/slideLayout" Target="../slideLayouts/slideLayout49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95.xml"/><Relationship Id="rId34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slideLayout" Target="../slideLayouts/slideLayout107.xml"/><Relationship Id="rId38" Type="http://schemas.openxmlformats.org/officeDocument/2006/relationships/theme" Target="../theme/theme4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slideLayout" Target="../slideLayouts/slideLayout106.xml"/><Relationship Id="rId37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36" Type="http://schemas.openxmlformats.org/officeDocument/2006/relationships/slideLayout" Target="../slideLayouts/slideLayout110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35" Type="http://schemas.openxmlformats.org/officeDocument/2006/relationships/slideLayout" Target="../slideLayouts/slideLayout109.xml"/><Relationship Id="rId8" Type="http://schemas.openxmlformats.org/officeDocument/2006/relationships/slideLayout" Target="../slideLayouts/slideLayout82.xml"/><Relationship Id="rId3" Type="http://schemas.openxmlformats.org/officeDocument/2006/relationships/slideLayout" Target="../slideLayouts/slideLayout77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4.xml"/><Relationship Id="rId18" Type="http://schemas.openxmlformats.org/officeDocument/2006/relationships/slideLayout" Target="../slideLayouts/slideLayout129.xml"/><Relationship Id="rId26" Type="http://schemas.openxmlformats.org/officeDocument/2006/relationships/slideLayout" Target="../slideLayouts/slideLayout137.xml"/><Relationship Id="rId21" Type="http://schemas.openxmlformats.org/officeDocument/2006/relationships/slideLayout" Target="../slideLayouts/slideLayout132.xml"/><Relationship Id="rId34" Type="http://schemas.openxmlformats.org/officeDocument/2006/relationships/slideLayout" Target="../slideLayouts/slideLayout145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17" Type="http://schemas.openxmlformats.org/officeDocument/2006/relationships/slideLayout" Target="../slideLayouts/slideLayout128.xml"/><Relationship Id="rId25" Type="http://schemas.openxmlformats.org/officeDocument/2006/relationships/slideLayout" Target="../slideLayouts/slideLayout136.xml"/><Relationship Id="rId33" Type="http://schemas.openxmlformats.org/officeDocument/2006/relationships/slideLayout" Target="../slideLayouts/slideLayout144.xml"/><Relationship Id="rId2" Type="http://schemas.openxmlformats.org/officeDocument/2006/relationships/slideLayout" Target="../slideLayouts/slideLayout113.xml"/><Relationship Id="rId16" Type="http://schemas.openxmlformats.org/officeDocument/2006/relationships/slideLayout" Target="../slideLayouts/slideLayout127.xml"/><Relationship Id="rId20" Type="http://schemas.openxmlformats.org/officeDocument/2006/relationships/slideLayout" Target="../slideLayouts/slideLayout131.xml"/><Relationship Id="rId29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24" Type="http://schemas.openxmlformats.org/officeDocument/2006/relationships/slideLayout" Target="../slideLayouts/slideLayout135.xml"/><Relationship Id="rId32" Type="http://schemas.openxmlformats.org/officeDocument/2006/relationships/slideLayout" Target="../slideLayouts/slideLayout143.xml"/><Relationship Id="rId37" Type="http://schemas.openxmlformats.org/officeDocument/2006/relationships/theme" Target="../theme/theme5.xml"/><Relationship Id="rId5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6.xml"/><Relationship Id="rId23" Type="http://schemas.openxmlformats.org/officeDocument/2006/relationships/slideLayout" Target="../slideLayouts/slideLayout134.xml"/><Relationship Id="rId28" Type="http://schemas.openxmlformats.org/officeDocument/2006/relationships/slideLayout" Target="../slideLayouts/slideLayout139.xml"/><Relationship Id="rId36" Type="http://schemas.openxmlformats.org/officeDocument/2006/relationships/slideLayout" Target="../slideLayouts/slideLayout147.xml"/><Relationship Id="rId10" Type="http://schemas.openxmlformats.org/officeDocument/2006/relationships/slideLayout" Target="../slideLayouts/slideLayout121.xml"/><Relationship Id="rId19" Type="http://schemas.openxmlformats.org/officeDocument/2006/relationships/slideLayout" Target="../slideLayouts/slideLayout130.xml"/><Relationship Id="rId31" Type="http://schemas.openxmlformats.org/officeDocument/2006/relationships/slideLayout" Target="../slideLayouts/slideLayout142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slideLayout" Target="../slideLayouts/slideLayout125.xml"/><Relationship Id="rId22" Type="http://schemas.openxmlformats.org/officeDocument/2006/relationships/slideLayout" Target="../slideLayouts/slideLayout133.xml"/><Relationship Id="rId27" Type="http://schemas.openxmlformats.org/officeDocument/2006/relationships/slideLayout" Target="../slideLayouts/slideLayout138.xml"/><Relationship Id="rId30" Type="http://schemas.openxmlformats.org/officeDocument/2006/relationships/slideLayout" Target="../slideLayouts/slideLayout141.xml"/><Relationship Id="rId35" Type="http://schemas.openxmlformats.org/officeDocument/2006/relationships/slideLayout" Target="../slideLayouts/slideLayout146.xml"/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/Relationships>
</file>

<file path=ppt/slideMasters/_rels/slideMaster6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theme" Target="../theme/theme7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76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8" Type="http://schemas.openxmlformats.org/officeDocument/2006/relationships/slideLayout" Target="../slideLayouts/slideLayout155.xml"/><Relationship Id="rId3" Type="http://schemas.openxmlformats.org/officeDocument/2006/relationships/slideLayout" Target="../slideLayouts/slideLayout15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3.xml"/><Relationship Id="rId13" Type="http://schemas.openxmlformats.org/officeDocument/2006/relationships/image" Target="../media/image17.png"/><Relationship Id="rId3" Type="http://schemas.openxmlformats.org/officeDocument/2006/relationships/slideLayout" Target="../slideLayouts/slideLayout188.xml"/><Relationship Id="rId7" Type="http://schemas.openxmlformats.org/officeDocument/2006/relationships/slideLayout" Target="../slideLayouts/slideLayout192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187.xml"/><Relationship Id="rId1" Type="http://schemas.openxmlformats.org/officeDocument/2006/relationships/slideLayout" Target="../slideLayouts/slideLayout186.xml"/><Relationship Id="rId6" Type="http://schemas.openxmlformats.org/officeDocument/2006/relationships/slideLayout" Target="../slideLayouts/slideLayout191.xml"/><Relationship Id="rId11" Type="http://schemas.openxmlformats.org/officeDocument/2006/relationships/slideLayout" Target="../slideLayouts/slideLayout196.xml"/><Relationship Id="rId5" Type="http://schemas.openxmlformats.org/officeDocument/2006/relationships/slideLayout" Target="../slideLayouts/slideLayout190.xml"/><Relationship Id="rId10" Type="http://schemas.openxmlformats.org/officeDocument/2006/relationships/slideLayout" Target="../slideLayouts/slideLayout195.xml"/><Relationship Id="rId4" Type="http://schemas.openxmlformats.org/officeDocument/2006/relationships/slideLayout" Target="../slideLayouts/slideLayout189.xml"/><Relationship Id="rId9" Type="http://schemas.openxmlformats.org/officeDocument/2006/relationships/slideLayout" Target="../slideLayouts/slideLayout194.xml"/></Relationships>
</file>

<file path=ppt/slideMasters/_rels/slideMaster9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22.xml"/><Relationship Id="rId21" Type="http://schemas.openxmlformats.org/officeDocument/2006/relationships/slideLayout" Target="../slideLayouts/slideLayout217.xml"/><Relationship Id="rId42" Type="http://schemas.openxmlformats.org/officeDocument/2006/relationships/slideLayout" Target="../slideLayouts/slideLayout238.xml"/><Relationship Id="rId47" Type="http://schemas.openxmlformats.org/officeDocument/2006/relationships/slideLayout" Target="../slideLayouts/slideLayout243.xml"/><Relationship Id="rId63" Type="http://schemas.openxmlformats.org/officeDocument/2006/relationships/slideLayout" Target="../slideLayouts/slideLayout259.xml"/><Relationship Id="rId68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198.xml"/><Relationship Id="rId16" Type="http://schemas.openxmlformats.org/officeDocument/2006/relationships/slideLayout" Target="../slideLayouts/slideLayout212.xml"/><Relationship Id="rId29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07.xml"/><Relationship Id="rId24" Type="http://schemas.openxmlformats.org/officeDocument/2006/relationships/slideLayout" Target="../slideLayouts/slideLayout220.xml"/><Relationship Id="rId32" Type="http://schemas.openxmlformats.org/officeDocument/2006/relationships/slideLayout" Target="../slideLayouts/slideLayout228.xml"/><Relationship Id="rId37" Type="http://schemas.openxmlformats.org/officeDocument/2006/relationships/slideLayout" Target="../slideLayouts/slideLayout233.xml"/><Relationship Id="rId40" Type="http://schemas.openxmlformats.org/officeDocument/2006/relationships/slideLayout" Target="../slideLayouts/slideLayout236.xml"/><Relationship Id="rId45" Type="http://schemas.openxmlformats.org/officeDocument/2006/relationships/slideLayout" Target="../slideLayouts/slideLayout241.xml"/><Relationship Id="rId53" Type="http://schemas.openxmlformats.org/officeDocument/2006/relationships/slideLayout" Target="../slideLayouts/slideLayout249.xml"/><Relationship Id="rId58" Type="http://schemas.openxmlformats.org/officeDocument/2006/relationships/slideLayout" Target="../slideLayouts/slideLayout254.xml"/><Relationship Id="rId66" Type="http://schemas.openxmlformats.org/officeDocument/2006/relationships/slideLayout" Target="../slideLayouts/slideLayout262.xml"/><Relationship Id="rId74" Type="http://schemas.openxmlformats.org/officeDocument/2006/relationships/theme" Target="../theme/theme9.xml"/><Relationship Id="rId5" Type="http://schemas.openxmlformats.org/officeDocument/2006/relationships/slideLayout" Target="../slideLayouts/slideLayout201.xml"/><Relationship Id="rId61" Type="http://schemas.openxmlformats.org/officeDocument/2006/relationships/slideLayout" Target="../slideLayouts/slideLayout257.xml"/><Relationship Id="rId19" Type="http://schemas.openxmlformats.org/officeDocument/2006/relationships/slideLayout" Target="../slideLayouts/slideLayout215.xml"/><Relationship Id="rId14" Type="http://schemas.openxmlformats.org/officeDocument/2006/relationships/slideLayout" Target="../slideLayouts/slideLayout210.xml"/><Relationship Id="rId22" Type="http://schemas.openxmlformats.org/officeDocument/2006/relationships/slideLayout" Target="../slideLayouts/slideLayout218.xml"/><Relationship Id="rId27" Type="http://schemas.openxmlformats.org/officeDocument/2006/relationships/slideLayout" Target="../slideLayouts/slideLayout223.xml"/><Relationship Id="rId30" Type="http://schemas.openxmlformats.org/officeDocument/2006/relationships/slideLayout" Target="../slideLayouts/slideLayout226.xml"/><Relationship Id="rId35" Type="http://schemas.openxmlformats.org/officeDocument/2006/relationships/slideLayout" Target="../slideLayouts/slideLayout231.xml"/><Relationship Id="rId43" Type="http://schemas.openxmlformats.org/officeDocument/2006/relationships/slideLayout" Target="../slideLayouts/slideLayout239.xml"/><Relationship Id="rId48" Type="http://schemas.openxmlformats.org/officeDocument/2006/relationships/slideLayout" Target="../slideLayouts/slideLayout244.xml"/><Relationship Id="rId56" Type="http://schemas.openxmlformats.org/officeDocument/2006/relationships/slideLayout" Target="../slideLayouts/slideLayout252.xml"/><Relationship Id="rId64" Type="http://schemas.openxmlformats.org/officeDocument/2006/relationships/slideLayout" Target="../slideLayouts/slideLayout260.xml"/><Relationship Id="rId69" Type="http://schemas.openxmlformats.org/officeDocument/2006/relationships/slideLayout" Target="../slideLayouts/slideLayout265.xml"/><Relationship Id="rId8" Type="http://schemas.openxmlformats.org/officeDocument/2006/relationships/slideLayout" Target="../slideLayouts/slideLayout204.xml"/><Relationship Id="rId51" Type="http://schemas.openxmlformats.org/officeDocument/2006/relationships/slideLayout" Target="../slideLayouts/slideLayout247.xml"/><Relationship Id="rId72" Type="http://schemas.openxmlformats.org/officeDocument/2006/relationships/slideLayout" Target="../slideLayouts/slideLayout268.xml"/><Relationship Id="rId3" Type="http://schemas.openxmlformats.org/officeDocument/2006/relationships/slideLayout" Target="../slideLayouts/slideLayout199.xml"/><Relationship Id="rId12" Type="http://schemas.openxmlformats.org/officeDocument/2006/relationships/slideLayout" Target="../slideLayouts/slideLayout208.xml"/><Relationship Id="rId17" Type="http://schemas.openxmlformats.org/officeDocument/2006/relationships/slideLayout" Target="../slideLayouts/slideLayout213.xml"/><Relationship Id="rId25" Type="http://schemas.openxmlformats.org/officeDocument/2006/relationships/slideLayout" Target="../slideLayouts/slideLayout221.xml"/><Relationship Id="rId33" Type="http://schemas.openxmlformats.org/officeDocument/2006/relationships/slideLayout" Target="../slideLayouts/slideLayout229.xml"/><Relationship Id="rId38" Type="http://schemas.openxmlformats.org/officeDocument/2006/relationships/slideLayout" Target="../slideLayouts/slideLayout234.xml"/><Relationship Id="rId46" Type="http://schemas.openxmlformats.org/officeDocument/2006/relationships/slideLayout" Target="../slideLayouts/slideLayout242.xml"/><Relationship Id="rId59" Type="http://schemas.openxmlformats.org/officeDocument/2006/relationships/slideLayout" Target="../slideLayouts/slideLayout255.xml"/><Relationship Id="rId67" Type="http://schemas.openxmlformats.org/officeDocument/2006/relationships/slideLayout" Target="../slideLayouts/slideLayout263.xml"/><Relationship Id="rId20" Type="http://schemas.openxmlformats.org/officeDocument/2006/relationships/slideLayout" Target="../slideLayouts/slideLayout216.xml"/><Relationship Id="rId41" Type="http://schemas.openxmlformats.org/officeDocument/2006/relationships/slideLayout" Target="../slideLayouts/slideLayout237.xml"/><Relationship Id="rId54" Type="http://schemas.openxmlformats.org/officeDocument/2006/relationships/slideLayout" Target="../slideLayouts/slideLayout250.xml"/><Relationship Id="rId62" Type="http://schemas.openxmlformats.org/officeDocument/2006/relationships/slideLayout" Target="../slideLayouts/slideLayout258.xml"/><Relationship Id="rId70" Type="http://schemas.openxmlformats.org/officeDocument/2006/relationships/slideLayout" Target="../slideLayouts/slideLayout266.xml"/><Relationship Id="rId75" Type="http://schemas.openxmlformats.org/officeDocument/2006/relationships/image" Target="../media/image18.emf"/><Relationship Id="rId1" Type="http://schemas.openxmlformats.org/officeDocument/2006/relationships/slideLayout" Target="../slideLayouts/slideLayout197.xml"/><Relationship Id="rId6" Type="http://schemas.openxmlformats.org/officeDocument/2006/relationships/slideLayout" Target="../slideLayouts/slideLayout202.xml"/><Relationship Id="rId15" Type="http://schemas.openxmlformats.org/officeDocument/2006/relationships/slideLayout" Target="../slideLayouts/slideLayout211.xml"/><Relationship Id="rId23" Type="http://schemas.openxmlformats.org/officeDocument/2006/relationships/slideLayout" Target="../slideLayouts/slideLayout219.xml"/><Relationship Id="rId28" Type="http://schemas.openxmlformats.org/officeDocument/2006/relationships/slideLayout" Target="../slideLayouts/slideLayout224.xml"/><Relationship Id="rId36" Type="http://schemas.openxmlformats.org/officeDocument/2006/relationships/slideLayout" Target="../slideLayouts/slideLayout232.xml"/><Relationship Id="rId49" Type="http://schemas.openxmlformats.org/officeDocument/2006/relationships/slideLayout" Target="../slideLayouts/slideLayout245.xml"/><Relationship Id="rId57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06.xml"/><Relationship Id="rId31" Type="http://schemas.openxmlformats.org/officeDocument/2006/relationships/slideLayout" Target="../slideLayouts/slideLayout227.xml"/><Relationship Id="rId44" Type="http://schemas.openxmlformats.org/officeDocument/2006/relationships/slideLayout" Target="../slideLayouts/slideLayout240.xml"/><Relationship Id="rId52" Type="http://schemas.openxmlformats.org/officeDocument/2006/relationships/slideLayout" Target="../slideLayouts/slideLayout248.xml"/><Relationship Id="rId60" Type="http://schemas.openxmlformats.org/officeDocument/2006/relationships/slideLayout" Target="../slideLayouts/slideLayout256.xml"/><Relationship Id="rId65" Type="http://schemas.openxmlformats.org/officeDocument/2006/relationships/slideLayout" Target="../slideLayouts/slideLayout261.xml"/><Relationship Id="rId73" Type="http://schemas.openxmlformats.org/officeDocument/2006/relationships/slideLayout" Target="../slideLayouts/slideLayout269.xml"/><Relationship Id="rId4" Type="http://schemas.openxmlformats.org/officeDocument/2006/relationships/slideLayout" Target="../slideLayouts/slideLayout200.xml"/><Relationship Id="rId9" Type="http://schemas.openxmlformats.org/officeDocument/2006/relationships/slideLayout" Target="../slideLayouts/slideLayout205.xml"/><Relationship Id="rId13" Type="http://schemas.openxmlformats.org/officeDocument/2006/relationships/slideLayout" Target="../slideLayouts/slideLayout209.xml"/><Relationship Id="rId18" Type="http://schemas.openxmlformats.org/officeDocument/2006/relationships/slideLayout" Target="../slideLayouts/slideLayout214.xml"/><Relationship Id="rId39" Type="http://schemas.openxmlformats.org/officeDocument/2006/relationships/slideLayout" Target="../slideLayouts/slideLayout235.xml"/><Relationship Id="rId34" Type="http://schemas.openxmlformats.org/officeDocument/2006/relationships/slideLayout" Target="../slideLayouts/slideLayout230.xml"/><Relationship Id="rId50" Type="http://schemas.openxmlformats.org/officeDocument/2006/relationships/slideLayout" Target="../slideLayouts/slideLayout246.xml"/><Relationship Id="rId55" Type="http://schemas.openxmlformats.org/officeDocument/2006/relationships/slideLayout" Target="../slideLayouts/slideLayout251.xml"/><Relationship Id="rId76" Type="http://schemas.openxmlformats.org/officeDocument/2006/relationships/image" Target="../media/image19.emf"/><Relationship Id="rId7" Type="http://schemas.openxmlformats.org/officeDocument/2006/relationships/slideLayout" Target="../slideLayouts/slideLayout203.xml"/><Relationship Id="rId71" Type="http://schemas.openxmlformats.org/officeDocument/2006/relationships/slideLayout" Target="../slideLayouts/slideLayout26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10CE38E-58D8-4BE4-9BFA-4B9096E5DB5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54989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859" r:id="rId6"/>
    <p:sldLayoutId id="2147483860" r:id="rId7"/>
    <p:sldLayoutId id="2147483875" r:id="rId8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60606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rgbClr val="060606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rgbClr val="060606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rgbClr val="060606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60606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60606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1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91489721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700" r:id="rId33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bg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rgbClr val="6D6E70"/>
        </a:buClr>
        <a:buSzPct val="90000"/>
        <a:buFont typeface="Wingdings" pitchFamily="2" charset="2"/>
        <a:buNone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bg1"/>
        </a:buClr>
        <a:buFont typeface=".AppleSystemUIFont" charset="-120"/>
        <a:buChar char="»"/>
        <a:tabLst/>
        <a:defRPr sz="1867" b="0" i="0">
          <a:solidFill>
            <a:schemeClr val="bg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3F3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"/>
          <p:cNvSpPr>
            <a:spLocks noGrp="1"/>
          </p:cNvSpPr>
          <p:nvPr>
            <p:ph type="title"/>
          </p:nvPr>
        </p:nvSpPr>
        <p:spPr>
          <a:xfrm>
            <a:off x="280416" y="268224"/>
            <a:ext cx="5522976" cy="572617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"/>
          <p:cNvSpPr>
            <a:spLocks noGrp="1"/>
          </p:cNvSpPr>
          <p:nvPr>
            <p:ph type="body" idx="1"/>
          </p:nvPr>
        </p:nvSpPr>
        <p:spPr>
          <a:xfrm>
            <a:off x="6388608" y="268224"/>
            <a:ext cx="5498592" cy="57261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"/>
          <p:cNvSpPr>
            <a:spLocks noGrp="1"/>
          </p:cNvSpPr>
          <p:nvPr>
            <p:ph type="ftr" sz="quarter" idx="3"/>
          </p:nvPr>
        </p:nvSpPr>
        <p:spPr>
          <a:xfrm>
            <a:off x="304889" y="6383868"/>
            <a:ext cx="5486313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marR="0" indent="0" algn="l" defTabSz="91463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/>
              <a:t>IBM Watson Advertising / © 2020 IBM Corporation / #PutWeatherToWork</a:t>
            </a:r>
            <a:endParaRPr lang="en-US" dirty="0"/>
          </a:p>
        </p:txBody>
      </p:sp>
      <p:sp>
        <p:nvSpPr>
          <p:cNvPr id="8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9448802" y="6383868"/>
            <a:ext cx="2438309" cy="22224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fld id="{59395FB3-9C97-154F-86B2-7E381B951268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59" name="Group 58" descr="Outside edge tick marks for alignment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GrpSpPr/>
          <p:nvPr userDrawn="1"/>
        </p:nvGrpSpPr>
        <p:grpSpPr>
          <a:xfrm>
            <a:off x="-146307" y="-147320"/>
            <a:ext cx="12485627" cy="7152640"/>
            <a:chOff x="-109730" y="-110490"/>
            <a:chExt cx="9364220" cy="5364480"/>
          </a:xfrm>
        </p:grpSpPr>
        <p:grpSp>
          <p:nvGrpSpPr>
            <p:cNvPr id="60" name="Group 59"/>
            <p:cNvGrpSpPr/>
            <p:nvPr userDrawn="1"/>
          </p:nvGrpSpPr>
          <p:grpSpPr>
            <a:xfrm>
              <a:off x="228600" y="-110490"/>
              <a:ext cx="8686732" cy="91440"/>
              <a:chOff x="228600" y="-152400"/>
              <a:chExt cx="8686732" cy="152400"/>
            </a:xfrm>
          </p:grpSpPr>
          <p:cxnSp>
            <p:nvCxnSpPr>
              <p:cNvPr id="93" name="Straight Connector 9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7" name="Straight Connector 9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8" name="Straight Connector 9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9" name="Straight Connector 9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0" name="Straight Connector 9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1" name="Straight Connector 10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2" name="Straight Connector 10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103" name="Straight Connector 10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-762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1" name="Group 60"/>
            <p:cNvGrpSpPr/>
            <p:nvPr userDrawn="1"/>
          </p:nvGrpSpPr>
          <p:grpSpPr>
            <a:xfrm>
              <a:off x="228600" y="5162550"/>
              <a:ext cx="8686732" cy="91440"/>
              <a:chOff x="228600" y="5143500"/>
              <a:chExt cx="8686732" cy="152400"/>
            </a:xfrm>
          </p:grpSpPr>
          <p:cxnSp>
            <p:nvCxnSpPr>
              <p:cNvPr id="82" name="Straight Connector 8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52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1981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209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2438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267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495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4724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5532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67818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7010400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rot="5400000" flipH="1">
                <a:off x="8839132" y="5219700"/>
                <a:ext cx="15240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2" name="Group 61"/>
            <p:cNvGrpSpPr/>
            <p:nvPr userDrawn="1"/>
          </p:nvGrpSpPr>
          <p:grpSpPr>
            <a:xfrm>
              <a:off x="-109730" y="237744"/>
              <a:ext cx="91440" cy="4664456"/>
              <a:chOff x="-109730" y="237744"/>
              <a:chExt cx="91440" cy="4664456"/>
            </a:xfrm>
          </p:grpSpPr>
          <p:cxnSp>
            <p:nvCxnSpPr>
              <p:cNvPr id="73" name="Straight Connector 72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5379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4" name="Straight Connector 7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930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938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7099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95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962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9427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774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902200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  <p:grpSp>
          <p:nvGrpSpPr>
            <p:cNvPr id="63" name="Group 62"/>
            <p:cNvGrpSpPr/>
            <p:nvPr userDrawn="1"/>
          </p:nvGrpSpPr>
          <p:grpSpPr>
            <a:xfrm>
              <a:off x="9163050" y="237744"/>
              <a:ext cx="91440" cy="4663440"/>
              <a:chOff x="-109730" y="231394"/>
              <a:chExt cx="91440" cy="4663440"/>
            </a:xfrm>
          </p:grpSpPr>
          <p:cxnSp>
            <p:nvCxnSpPr>
              <p:cNvPr id="64" name="Straight Connector 63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64744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28295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19230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56311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2031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384327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487926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23139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>
                <a:extLs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CxnSpPr/>
              <p:nvPr userDrawn="1"/>
            </p:nvCxnSpPr>
            <p:spPr bwMode="auto">
              <a:xfrm flipH="1">
                <a:off x="-109730" y="4894834"/>
                <a:ext cx="91440" cy="0"/>
              </a:xfrm>
              <a:prstGeom prst="line">
                <a:avLst/>
              </a:prstGeom>
              <a:ln>
                <a:solidFill>
                  <a:srgbClr val="BEBEBE"/>
                </a:solidFill>
                <a:headEnd type="none" w="med" len="med"/>
                <a:tailEnd type="none" w="med" len="med"/>
              </a:ln>
            </p:spPr>
            <p:style>
              <a:lnRef idx="1">
                <a:schemeClr val="dk1"/>
              </a:lnRef>
              <a:fillRef idx="0">
                <a:schemeClr val="dk1"/>
              </a:fillRef>
              <a:effectRef idx="0">
                <a:schemeClr val="dk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419746860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  <p:sldLayoutId id="2147483720" r:id="rId16"/>
    <p:sldLayoutId id="2147483721" r:id="rId17"/>
    <p:sldLayoutId id="2147483722" r:id="rId18"/>
    <p:sldLayoutId id="2147483723" r:id="rId19"/>
    <p:sldLayoutId id="2147483724" r:id="rId20"/>
    <p:sldLayoutId id="2147483725" r:id="rId21"/>
    <p:sldLayoutId id="2147483726" r:id="rId22"/>
    <p:sldLayoutId id="2147483727" r:id="rId23"/>
    <p:sldLayoutId id="2147483728" r:id="rId24"/>
    <p:sldLayoutId id="2147483729" r:id="rId25"/>
    <p:sldLayoutId id="2147483730" r:id="rId26"/>
    <p:sldLayoutId id="2147483731" r:id="rId27"/>
    <p:sldLayoutId id="2147483732" r:id="rId28"/>
    <p:sldLayoutId id="2147483733" r:id="rId29"/>
    <p:sldLayoutId id="2147483734" r:id="rId30"/>
    <p:sldLayoutId id="2147483735" r:id="rId31"/>
    <p:sldLayoutId id="2147483736" r:id="rId32"/>
    <p:sldLayoutId id="2147483737" r:id="rId33"/>
  </p:sldLayoutIdLst>
  <p:hf sldNum="0"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0" i="0">
          <a:solidFill>
            <a:schemeClr val="tx1"/>
          </a:solidFill>
          <a:latin typeface="+mj-lt"/>
          <a:ea typeface="Arial" panose="020B0604020202020204" pitchFamily="34" charset="0"/>
          <a:cs typeface="Arial" panose="020B0604020202020204" pitchFamily="34" charset="0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5pPr>
      <a:lvl6pPr marL="48341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6pPr>
      <a:lvl7pPr marL="9668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7pPr>
      <a:lvl8pPr marL="145024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8pPr>
      <a:lvl9pPr marL="193365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960">
          <a:solidFill>
            <a:srgbClr val="191919"/>
          </a:solidFill>
          <a:latin typeface="HelvNeue Light for IB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90000"/>
        <a:buFont typeface="Wingdings" pitchFamily="2" charset="2"/>
        <a:buNone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1pPr>
      <a:lvl2pPr marL="228597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2pPr>
      <a:lvl3pPr marL="457195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Arial" panose="020B0604020202020204" pitchFamily="34" charset="0"/>
        <a:buChar char="•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3pPr>
      <a:lvl4pPr marL="83819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SzPct val="100000"/>
        <a:buFont typeface=".AppleSystemUIFont" charset="-120"/>
        <a:buChar char="–"/>
        <a:tabLst/>
        <a:defRPr sz="1867" b="0" i="0" baseline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4pPr>
      <a:lvl5pPr marL="1071020" indent="-231642" algn="l" rtl="0" eaLnBrk="1" fontAlgn="base" hangingPunct="1">
        <a:lnSpc>
          <a:spcPct val="100000"/>
        </a:lnSpc>
        <a:spcBef>
          <a:spcPts val="1467"/>
        </a:spcBef>
        <a:spcAft>
          <a:spcPct val="0"/>
        </a:spcAft>
        <a:buClr>
          <a:schemeClr val="tx1"/>
        </a:buClr>
        <a:buFont typeface=".AppleSystemUIFont" charset="-120"/>
        <a:buChar char="»"/>
        <a:tabLst/>
        <a:defRPr sz="1867" b="0" i="0">
          <a:solidFill>
            <a:schemeClr val="tx1"/>
          </a:solidFill>
          <a:latin typeface="+mn-lt"/>
          <a:ea typeface="Arial" panose="020B0604020202020204" pitchFamily="34" charset="0"/>
          <a:cs typeface="Arial" panose="020B0604020202020204" pitchFamily="34" charset="0"/>
        </a:defRPr>
      </a:lvl5pPr>
      <a:lvl6pPr marL="2111575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6pPr>
      <a:lvl7pPr marL="2594990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7pPr>
      <a:lvl8pPr marL="3078403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8pPr>
      <a:lvl9pPr marL="3561818" indent="-172889" algn="l" rtl="0" eaLnBrk="1" fontAlgn="base" hangingPunct="1">
        <a:spcBef>
          <a:spcPct val="20000"/>
        </a:spcBef>
        <a:spcAft>
          <a:spcPct val="0"/>
        </a:spcAft>
        <a:buClr>
          <a:schemeClr val="bg1"/>
        </a:buClr>
        <a:buChar char="»"/>
        <a:defRPr sz="1692">
          <a:solidFill>
            <a:schemeClr val="bg1"/>
          </a:solidFill>
          <a:latin typeface="Arial" charset="0"/>
        </a:defRPr>
      </a:lvl9pPr>
    </p:bodyStyle>
    <p:otherStyle>
      <a:defPPr>
        <a:defRPr lang="en-US"/>
      </a:defPPr>
      <a:lvl1pPr marL="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1pPr>
      <a:lvl2pPr marL="483412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2pPr>
      <a:lvl3pPr marL="96682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3pPr>
      <a:lvl4pPr marL="1450240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4pPr>
      <a:lvl5pPr marL="193365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5pPr>
      <a:lvl6pPr marL="2417068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6pPr>
      <a:lvl7pPr marL="2900479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7pPr>
      <a:lvl8pPr marL="3383893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8pPr>
      <a:lvl9pPr marL="3867306" algn="l" defTabSz="966828" rtl="0" eaLnBrk="1" latinLnBrk="0" hangingPunct="1">
        <a:defRPr sz="19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50">
          <p15:clr>
            <a:srgbClr val="F26B43"/>
          </p15:clr>
        </p15:guide>
        <p15:guide id="2" pos="144">
          <p15:clr>
            <a:srgbClr val="F26B43"/>
          </p15:clr>
        </p15:guide>
        <p15:guide id="3" pos="5616">
          <p15:clr>
            <a:srgbClr val="F26B43"/>
          </p15:clr>
        </p15:guide>
        <p15:guide id="4" orient="horz" pos="2832">
          <p15:clr>
            <a:srgbClr val="F26B43"/>
          </p15:clr>
        </p15:guide>
        <p15:guide id="5" orient="horz" pos="3088">
          <p15:clr>
            <a:srgbClr val="F26B43"/>
          </p15:clr>
        </p15:guide>
        <p15:guide id="6" pos="2880">
          <p15:clr>
            <a:srgbClr val="F26B43"/>
          </p15:clr>
        </p15:guide>
        <p15:guide id="7" pos="2736">
          <p15:clr>
            <a:srgbClr val="F26B43"/>
          </p15:clr>
        </p15:guide>
        <p15:guide id="8" pos="1440">
          <p15:clr>
            <a:srgbClr val="F26B43"/>
          </p15:clr>
        </p15:guide>
        <p15:guide id="9" pos="3024">
          <p15:clr>
            <a:srgbClr val="F26B43"/>
          </p15:clr>
        </p15:guide>
        <p15:guide id="10" pos="1296">
          <p15:clr>
            <a:srgbClr val="F26B43"/>
          </p15:clr>
        </p15:guide>
        <p15:guide id="11" pos="1584">
          <p15:clr>
            <a:srgbClr val="F26B43"/>
          </p15:clr>
        </p15:guide>
        <p15:guide id="12" pos="4320">
          <p15:clr>
            <a:srgbClr val="F26B43"/>
          </p15:clr>
        </p15:guide>
        <p15:guide id="13" pos="4176">
          <p15:clr>
            <a:srgbClr val="F26B43"/>
          </p15:clr>
        </p15:guide>
        <p15:guide id="14" pos="4464">
          <p15:clr>
            <a:srgbClr val="F26B43"/>
          </p15:clr>
        </p15:guide>
        <p15:guide id="15" orient="horz" pos="412">
          <p15:clr>
            <a:srgbClr val="F26B43"/>
          </p15:clr>
        </p15:guide>
        <p15:guide id="17" orient="horz" pos="812">
          <p15:clr>
            <a:srgbClr val="F26B43"/>
          </p15:clr>
        </p15:guide>
        <p15:guide id="18" orient="horz" pos="1620">
          <p15:clr>
            <a:srgbClr val="F26B43"/>
          </p15:clr>
        </p15:guide>
        <p15:guide id="19" orient="horz" pos="1216">
          <p15:clr>
            <a:srgbClr val="F26B43"/>
          </p15:clr>
        </p15:guide>
        <p15:guide id="20" orient="horz" pos="2022">
          <p15:clr>
            <a:srgbClr val="F26B43"/>
          </p15:clr>
        </p15:guide>
        <p15:guide id="21" orient="horz" pos="242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298565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  <p:sldLayoutId id="2147483754" r:id="rId16"/>
    <p:sldLayoutId id="2147483755" r:id="rId17"/>
    <p:sldLayoutId id="2147483756" r:id="rId18"/>
    <p:sldLayoutId id="2147483757" r:id="rId19"/>
    <p:sldLayoutId id="2147483758" r:id="rId20"/>
    <p:sldLayoutId id="2147483759" r:id="rId21"/>
    <p:sldLayoutId id="2147483760" r:id="rId22"/>
    <p:sldLayoutId id="2147483761" r:id="rId23"/>
    <p:sldLayoutId id="2147483762" r:id="rId24"/>
    <p:sldLayoutId id="2147483763" r:id="rId25"/>
    <p:sldLayoutId id="2147483764" r:id="rId26"/>
    <p:sldLayoutId id="2147483765" r:id="rId27"/>
    <p:sldLayoutId id="2147483766" r:id="rId28"/>
    <p:sldLayoutId id="2147483767" r:id="rId29"/>
    <p:sldLayoutId id="2147483768" r:id="rId30"/>
    <p:sldLayoutId id="2147483769" r:id="rId31"/>
    <p:sldLayoutId id="2147483770" r:id="rId32"/>
    <p:sldLayoutId id="2147483771" r:id="rId33"/>
    <p:sldLayoutId id="2147483772" r:id="rId34"/>
    <p:sldLayoutId id="2147483773" r:id="rId35"/>
    <p:sldLayoutId id="2147483776" r:id="rId36"/>
    <p:sldLayoutId id="2147483777" r:id="rId37"/>
  </p:sldLayoutIdLst>
  <p:hf sldNum="0"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r>
              <a:rPr lang="de-DE"/>
              <a:t>IBM Watson Advertising / © 2020 IBM Corporation / #PutWeatherToWork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3924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  <p:sldLayoutId id="2147483780" r:id="rId2"/>
    <p:sldLayoutId id="2147483781" r:id="rId3"/>
    <p:sldLayoutId id="2147483782" r:id="rId4"/>
    <p:sldLayoutId id="2147483783" r:id="rId5"/>
    <p:sldLayoutId id="2147483784" r:id="rId6"/>
    <p:sldLayoutId id="2147483785" r:id="rId7"/>
    <p:sldLayoutId id="2147483786" r:id="rId8"/>
    <p:sldLayoutId id="2147483787" r:id="rId9"/>
    <p:sldLayoutId id="2147483788" r:id="rId10"/>
    <p:sldLayoutId id="2147483789" r:id="rId11"/>
    <p:sldLayoutId id="2147483790" r:id="rId12"/>
    <p:sldLayoutId id="2147483791" r:id="rId13"/>
    <p:sldLayoutId id="2147483792" r:id="rId14"/>
    <p:sldLayoutId id="2147483793" r:id="rId15"/>
    <p:sldLayoutId id="2147483794" r:id="rId16"/>
    <p:sldLayoutId id="2147483795" r:id="rId17"/>
    <p:sldLayoutId id="2147483796" r:id="rId18"/>
    <p:sldLayoutId id="2147483797" r:id="rId19"/>
    <p:sldLayoutId id="2147483798" r:id="rId20"/>
    <p:sldLayoutId id="2147483799" r:id="rId21"/>
    <p:sldLayoutId id="2147483800" r:id="rId22"/>
    <p:sldLayoutId id="2147483801" r:id="rId23"/>
    <p:sldLayoutId id="2147483802" r:id="rId24"/>
    <p:sldLayoutId id="2147483803" r:id="rId25"/>
    <p:sldLayoutId id="2147483804" r:id="rId26"/>
    <p:sldLayoutId id="2147483805" r:id="rId27"/>
    <p:sldLayoutId id="2147483806" r:id="rId28"/>
    <p:sldLayoutId id="2147483807" r:id="rId29"/>
    <p:sldLayoutId id="2147483808" r:id="rId30"/>
    <p:sldLayoutId id="2147483809" r:id="rId31"/>
    <p:sldLayoutId id="2147483810" r:id="rId32"/>
    <p:sldLayoutId id="2147483811" r:id="rId33"/>
    <p:sldLayoutId id="2147483812" r:id="rId34"/>
    <p:sldLayoutId id="2147483813" r:id="rId35"/>
    <p:sldLayoutId id="2147483814" r:id="rId36"/>
  </p:sldLayoutIdLst>
  <p:hf sldNum="0"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6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4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="0" i="0" baseline="0">
                <a:solidFill>
                  <a:schemeClr val="tx1"/>
                </a:solidFill>
                <a:latin typeface="Arial" panose="020B0604020202020204" pitchFamily="34" charset="0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en-US">
                <a:latin typeface="Arial" panose="020B0604020202020204" pitchFamily="34" charset="0"/>
              </a:rPr>
              <a:t>IBM Watson Advertising / © 2020 IBM Corporation / #PutWeatherToWork</a:t>
            </a:r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8465903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txStyles>
    <p:titleStyle>
      <a:lvl1pPr algn="l" defTabSz="60957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</p:titleStyle>
    <p:bodyStyle>
      <a:lvl1pPr marL="0" indent="0" algn="l" defTabSz="609570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1pPr>
      <a:lvl2pPr marL="230706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2pPr>
      <a:lvl3pPr marL="52914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3pPr>
      <a:lvl4pPr marL="833926" indent="-22435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4pPr>
      <a:lvl5pPr marL="1070980" indent="-230706" algn="l" defTabSz="609570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b="0" i="0" kern="1200">
          <a:solidFill>
            <a:schemeClr val="tx1"/>
          </a:solidFill>
          <a:latin typeface="Arial" panose="020B0604020202020204" pitchFamily="34" charset="0"/>
          <a:ea typeface="Arial" charset="0"/>
          <a:cs typeface="Arial" charset="0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268225"/>
            <a:ext cx="5486400" cy="598813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noProof="0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00800" y="256033"/>
            <a:ext cx="5486400" cy="600032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9144000" y="6435307"/>
            <a:ext cx="27432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fld id="{D0BE6F14-FF48-0F4F-A8AA-2E3F25371E4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3"/>
          </p:nvPr>
        </p:nvSpPr>
        <p:spPr>
          <a:xfrm>
            <a:off x="304800" y="6435307"/>
            <a:ext cx="8534400" cy="18288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 baseline="0">
                <a:solidFill>
                  <a:schemeClr val="tx1"/>
                </a:solidFill>
                <a:latin typeface="+mn-lt"/>
                <a:ea typeface="Arial" charset="0"/>
                <a:cs typeface="Arial" charset="0"/>
              </a:defRPr>
            </a:lvl1pPr>
          </a:lstStyle>
          <a:p>
            <a:r>
              <a:rPr lang="de-DE"/>
              <a:t>Group Name / DOC ID / Month XX, 2017 / © 2017 IBM Corporatio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89066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0" r:id="rId1"/>
    <p:sldLayoutId id="2147483821" r:id="rId2"/>
    <p:sldLayoutId id="2147483822" r:id="rId3"/>
    <p:sldLayoutId id="2147483823" r:id="rId4"/>
    <p:sldLayoutId id="2147483824" r:id="rId5"/>
    <p:sldLayoutId id="2147483825" r:id="rId6"/>
    <p:sldLayoutId id="2147483826" r:id="rId7"/>
    <p:sldLayoutId id="2147483827" r:id="rId8"/>
    <p:sldLayoutId id="2147483828" r:id="rId9"/>
    <p:sldLayoutId id="2147483829" r:id="rId10"/>
    <p:sldLayoutId id="2147483830" r:id="rId11"/>
    <p:sldLayoutId id="2147483831" r:id="rId12"/>
    <p:sldLayoutId id="2147483832" r:id="rId13"/>
    <p:sldLayoutId id="2147483833" r:id="rId14"/>
    <p:sldLayoutId id="2147483834" r:id="rId15"/>
    <p:sldLayoutId id="2147483835" r:id="rId16"/>
    <p:sldLayoutId id="2147483836" r:id="rId17"/>
    <p:sldLayoutId id="2147483837" r:id="rId18"/>
    <p:sldLayoutId id="2147483838" r:id="rId19"/>
    <p:sldLayoutId id="2147483839" r:id="rId20"/>
    <p:sldLayoutId id="2147483840" r:id="rId21"/>
    <p:sldLayoutId id="2147483841" r:id="rId22"/>
    <p:sldLayoutId id="2147483842" r:id="rId23"/>
    <p:sldLayoutId id="2147483843" r:id="rId24"/>
    <p:sldLayoutId id="2147483844" r:id="rId25"/>
    <p:sldLayoutId id="2147483845" r:id="rId26"/>
    <p:sldLayoutId id="2147483846" r:id="rId27"/>
    <p:sldLayoutId id="2147483847" r:id="rId28"/>
    <p:sldLayoutId id="2147483848" r:id="rId29"/>
    <p:sldLayoutId id="2147483849" r:id="rId30"/>
    <p:sldLayoutId id="2147483850" r:id="rId31"/>
    <p:sldLayoutId id="2147483851" r:id="rId32"/>
    <p:sldLayoutId id="2147483852" r:id="rId33"/>
    <p:sldLayoutId id="2147483853" r:id="rId34"/>
    <p:sldLayoutId id="2147483854" r:id="rId35"/>
    <p:sldLayoutId id="2147483855" r:id="rId36"/>
    <p:sldLayoutId id="2147483857" r:id="rId37"/>
    <p:sldLayoutId id="2147483858" r:id="rId38"/>
  </p:sldLayoutIdLst>
  <p:hf hdr="0" dt="0"/>
  <p:txStyles>
    <p:titleStyle>
      <a:lvl1pPr algn="l" defTabSz="609585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Arial" charset="0"/>
          <a:cs typeface="Arial" charset="0"/>
        </a:defRPr>
      </a:lvl1pPr>
    </p:titleStyle>
    <p:bodyStyle>
      <a:lvl1pPr marL="0" indent="0" algn="l" defTabSz="609585" rtl="0" eaLnBrk="1" latinLnBrk="0" hangingPunct="1">
        <a:lnSpc>
          <a:spcPct val="100000"/>
        </a:lnSpc>
        <a:spcBef>
          <a:spcPts val="1467"/>
        </a:spcBef>
        <a:buFont typeface="Arial"/>
        <a:buNone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1pPr>
      <a:lvl2pPr marL="230712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2pPr>
      <a:lvl3pPr marL="529153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•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3pPr>
      <a:lvl4pPr marL="833946" indent="-224361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–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4pPr>
      <a:lvl5pPr marL="1071007" indent="-230712" algn="l" defTabSz="609585" rtl="0" eaLnBrk="1" latinLnBrk="0" hangingPunct="1">
        <a:lnSpc>
          <a:spcPct val="100000"/>
        </a:lnSpc>
        <a:spcBef>
          <a:spcPts val="1467"/>
        </a:spcBef>
        <a:spcAft>
          <a:spcPts val="0"/>
        </a:spcAft>
        <a:buFont typeface="Arial"/>
        <a:buChar char="»"/>
        <a:defRPr sz="1867" kern="1200">
          <a:solidFill>
            <a:schemeClr val="tx1"/>
          </a:solidFill>
          <a:latin typeface="+mn-lt"/>
          <a:ea typeface="Arial" charset="0"/>
          <a:cs typeface="Arial" charset="0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96">
          <p15:clr>
            <a:srgbClr val="F26B43"/>
          </p15:clr>
        </p15:guide>
        <p15:guide id="2" orient="horz" pos="1619">
          <p15:clr>
            <a:srgbClr val="F26B43"/>
          </p15:clr>
        </p15:guide>
        <p15:guide id="3" orient="horz" pos="1216">
          <p15:clr>
            <a:srgbClr val="F26B43"/>
          </p15:clr>
        </p15:guide>
        <p15:guide id="5" orient="horz" pos="813">
          <p15:clr>
            <a:srgbClr val="F26B43"/>
          </p15:clr>
        </p15:guide>
        <p15:guide id="7" orient="horz" pos="2022">
          <p15:clr>
            <a:srgbClr val="F26B43"/>
          </p15:clr>
        </p15:guide>
        <p15:guide id="8" orient="horz" pos="2426">
          <p15:clr>
            <a:srgbClr val="F26B43"/>
          </p15:clr>
        </p15:guide>
        <p15:guide id="9" orient="horz" pos="2829">
          <p15:clr>
            <a:srgbClr val="F26B43"/>
          </p15:clr>
        </p15:guide>
        <p15:guide id="11" pos="2880">
          <p15:clr>
            <a:srgbClr val="F26B43"/>
          </p15:clr>
        </p15:guide>
        <p15:guide id="13" pos="2736">
          <p15:clr>
            <a:srgbClr val="F26B43"/>
          </p15:clr>
        </p15:guide>
        <p15:guide id="15" pos="1584">
          <p15:clr>
            <a:srgbClr val="F26B43"/>
          </p15:clr>
        </p15:guide>
        <p15:guide id="17" pos="1440">
          <p15:clr>
            <a:srgbClr val="F26B43"/>
          </p15:clr>
        </p15:guide>
        <p15:guide id="20" pos="3024">
          <p15:clr>
            <a:srgbClr val="F26B43"/>
          </p15:clr>
        </p15:guide>
        <p15:guide id="22" pos="4320">
          <p15:clr>
            <a:srgbClr val="F26B43"/>
          </p15:clr>
        </p15:guide>
        <p15:guide id="24" pos="144">
          <p15:clr>
            <a:srgbClr val="F26B43"/>
          </p15:clr>
        </p15:guide>
        <p15:guide id="26" pos="5616">
          <p15:clr>
            <a:srgbClr val="F26B43"/>
          </p15:clr>
        </p15:guide>
        <p15:guide id="27" orient="horz" pos="142">
          <p15:clr>
            <a:srgbClr val="F26B43"/>
          </p15:clr>
        </p15:guide>
        <p15:guide id="31" pos="4176">
          <p15:clr>
            <a:srgbClr val="F26B43"/>
          </p15:clr>
        </p15:guide>
        <p15:guide id="32" pos="4464">
          <p15:clr>
            <a:srgbClr val="F26B43"/>
          </p15:clr>
        </p15:guide>
        <p15:guide id="34" orient="horz" pos="3098">
          <p15:clr>
            <a:srgbClr val="F26B43"/>
          </p15:clr>
        </p15:guide>
        <p15:guide id="35" orient="horz" pos="420">
          <p15:clr>
            <a:srgbClr val="F26B43"/>
          </p15:clr>
        </p15:guide>
        <p15:guide id="36" orient="horz" pos="7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E5D956-AD74-5B4F-A588-7DCE22B003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6B0E398-A4E2-4D4F-BAE4-71C4680185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BA2450-C9E7-844F-AABE-8E81D88F228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7CE2C3-9DE4-AA4A-A1C3-95D4BAE19057}" type="datetimeFigureOut">
              <a:rPr lang="en-US" smtClean="0"/>
              <a:t>5/19/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AE2A97-2983-CA43-B6D7-76AF4E4A8E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759D09-FB3B-664A-8A2E-5C496D9C97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83C99C9-AEBE-1C44-AE9E-97075D147692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yellow rectangle with a blue background&#10;&#10;Description automatically generated with medium confidence">
            <a:extLst>
              <a:ext uri="{FF2B5EF4-FFF2-40B4-BE49-F238E27FC236}">
                <a16:creationId xmlns:a16="http://schemas.microsoft.com/office/drawing/2014/main" id="{8F739AFB-46E6-B34E-B0BC-CC5B7AEEDDB3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84875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C5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Text"/>
          <p:cNvSpPr txBox="1">
            <a:spLocks noGrp="1"/>
          </p:cNvSpPr>
          <p:nvPr>
            <p:ph type="title"/>
          </p:nvPr>
        </p:nvSpPr>
        <p:spPr>
          <a:xfrm>
            <a:off x="1816100" y="2759354"/>
            <a:ext cx="4659214" cy="66040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="http://schemas.openxmlformats.org/officeDocument/2006/math" xmlns:a14="http://schemas.microsoft.com/office/drawing/2010/main" xmlns:ma14="http://schemas.microsoft.com/office/mac/drawingml/2011/main" xmlns="" val="1"/>
            </a:ext>
          </a:extLst>
        </p:spPr>
        <p:txBody>
          <a:bodyPr lIns="50800" tIns="50800" rIns="50800" bIns="50800"/>
          <a:lstStyle/>
          <a:p>
            <a:r>
              <a:t>Title Tex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5D19B2F-B995-DC45-A6A5-A3027CC8C6ED}"/>
              </a:ext>
            </a:extLst>
          </p:cNvPr>
          <p:cNvPicPr>
            <a:picLocks noChangeAspect="1"/>
          </p:cNvPicPr>
          <p:nvPr userDrawn="1"/>
        </p:nvPicPr>
        <p:blipFill>
          <a:blip r:embed="rId75"/>
          <a:stretch>
            <a:fillRect/>
          </a:stretch>
        </p:blipFill>
        <p:spPr>
          <a:xfrm>
            <a:off x="942304" y="2875465"/>
            <a:ext cx="603250" cy="31115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018512A-04FB-B24B-912C-10E66C202EB5}"/>
              </a:ext>
            </a:extLst>
          </p:cNvPr>
          <p:cNvPicPr>
            <a:picLocks noChangeAspect="1"/>
          </p:cNvPicPr>
          <p:nvPr userDrawn="1"/>
        </p:nvPicPr>
        <p:blipFill>
          <a:blip r:embed="rId76"/>
          <a:stretch>
            <a:fillRect/>
          </a:stretch>
        </p:blipFill>
        <p:spPr>
          <a:xfrm>
            <a:off x="10748650" y="6191033"/>
            <a:ext cx="1123950" cy="35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1832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7" r:id="rId1"/>
    <p:sldLayoutId id="2147483878" r:id="rId2"/>
    <p:sldLayoutId id="2147483879" r:id="rId3"/>
    <p:sldLayoutId id="2147483880" r:id="rId4"/>
    <p:sldLayoutId id="2147483881" r:id="rId5"/>
    <p:sldLayoutId id="2147483882" r:id="rId6"/>
    <p:sldLayoutId id="2147483883" r:id="rId7"/>
    <p:sldLayoutId id="2147483884" r:id="rId8"/>
    <p:sldLayoutId id="2147483885" r:id="rId9"/>
    <p:sldLayoutId id="2147483886" r:id="rId10"/>
    <p:sldLayoutId id="2147483887" r:id="rId11"/>
    <p:sldLayoutId id="2147483888" r:id="rId12"/>
    <p:sldLayoutId id="2147483889" r:id="rId13"/>
    <p:sldLayoutId id="2147483890" r:id="rId14"/>
    <p:sldLayoutId id="2147483891" r:id="rId15"/>
    <p:sldLayoutId id="2147483892" r:id="rId16"/>
    <p:sldLayoutId id="2147483893" r:id="rId17"/>
    <p:sldLayoutId id="2147483894" r:id="rId18"/>
    <p:sldLayoutId id="2147483895" r:id="rId19"/>
    <p:sldLayoutId id="2147483896" r:id="rId20"/>
    <p:sldLayoutId id="2147483897" r:id="rId21"/>
    <p:sldLayoutId id="2147483898" r:id="rId22"/>
    <p:sldLayoutId id="2147483899" r:id="rId23"/>
    <p:sldLayoutId id="2147483900" r:id="rId24"/>
    <p:sldLayoutId id="2147483901" r:id="rId25"/>
    <p:sldLayoutId id="2147483902" r:id="rId26"/>
    <p:sldLayoutId id="2147483903" r:id="rId27"/>
    <p:sldLayoutId id="2147483904" r:id="rId28"/>
    <p:sldLayoutId id="2147483905" r:id="rId29"/>
    <p:sldLayoutId id="2147483906" r:id="rId30"/>
    <p:sldLayoutId id="2147483907" r:id="rId31"/>
    <p:sldLayoutId id="2147483908" r:id="rId32"/>
    <p:sldLayoutId id="2147483909" r:id="rId33"/>
    <p:sldLayoutId id="2147483910" r:id="rId34"/>
    <p:sldLayoutId id="2147483911" r:id="rId35"/>
    <p:sldLayoutId id="2147483912" r:id="rId36"/>
    <p:sldLayoutId id="2147483913" r:id="rId37"/>
    <p:sldLayoutId id="2147483914" r:id="rId38"/>
    <p:sldLayoutId id="2147483915" r:id="rId39"/>
    <p:sldLayoutId id="2147483916" r:id="rId40"/>
    <p:sldLayoutId id="2147483917" r:id="rId41"/>
    <p:sldLayoutId id="2147483918" r:id="rId42"/>
    <p:sldLayoutId id="2147483919" r:id="rId43"/>
    <p:sldLayoutId id="2147483920" r:id="rId44"/>
    <p:sldLayoutId id="2147483921" r:id="rId45"/>
    <p:sldLayoutId id="2147483922" r:id="rId46"/>
    <p:sldLayoutId id="2147483923" r:id="rId47"/>
    <p:sldLayoutId id="2147483924" r:id="rId48"/>
    <p:sldLayoutId id="2147483925" r:id="rId49"/>
    <p:sldLayoutId id="2147483926" r:id="rId50"/>
    <p:sldLayoutId id="2147483927" r:id="rId51"/>
    <p:sldLayoutId id="2147483928" r:id="rId52"/>
    <p:sldLayoutId id="2147483929" r:id="rId53"/>
    <p:sldLayoutId id="2147483930" r:id="rId54"/>
    <p:sldLayoutId id="2147483931" r:id="rId55"/>
    <p:sldLayoutId id="2147483932" r:id="rId56"/>
    <p:sldLayoutId id="2147483933" r:id="rId57"/>
    <p:sldLayoutId id="2147483934" r:id="rId58"/>
    <p:sldLayoutId id="2147483935" r:id="rId59"/>
    <p:sldLayoutId id="2147483936" r:id="rId60"/>
    <p:sldLayoutId id="2147483937" r:id="rId61"/>
    <p:sldLayoutId id="2147483938" r:id="rId62"/>
    <p:sldLayoutId id="2147483939" r:id="rId63"/>
    <p:sldLayoutId id="2147483940" r:id="rId64"/>
    <p:sldLayoutId id="2147483941" r:id="rId65"/>
    <p:sldLayoutId id="2147483942" r:id="rId66"/>
    <p:sldLayoutId id="2147483943" r:id="rId67"/>
    <p:sldLayoutId id="2147483944" r:id="rId68"/>
    <p:sldLayoutId id="2147483945" r:id="rId69"/>
    <p:sldLayoutId id="2147483946" r:id="rId70"/>
    <p:sldLayoutId id="2147483947" r:id="rId71"/>
    <p:sldLayoutId id="2147483948" r:id="rId72"/>
    <p:sldLayoutId id="2147483949" r:id="rId73"/>
  </p:sldLayoutIdLst>
  <p:transition spd="med"/>
  <p:hf hdr="0" ftr="0" dt="0"/>
  <p:txStyles>
    <p:titleStyle>
      <a:lvl1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414B53"/>
          </a:solidFill>
          <a:uFillTx/>
          <a:latin typeface="Helvetica"/>
          <a:ea typeface="Helvetica"/>
          <a:cs typeface="Helvetica"/>
          <a:sym typeface="Helvetica"/>
        </a:defRPr>
      </a:lvl1pPr>
      <a:lvl2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2pPr>
      <a:lvl3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3pPr>
      <a:lvl4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4pPr>
      <a:lvl5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228600" rtl="0" latinLnBrk="0">
        <a:lnSpc>
          <a:spcPts val="42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3200" b="1" i="0" u="none" strike="noStrike" cap="none" spc="0" baseline="0">
          <a:solidFill>
            <a:srgbClr val="5C078B"/>
          </a:solidFill>
          <a:uFillTx/>
          <a:latin typeface="Helvetica"/>
          <a:ea typeface="Helvetica"/>
          <a:cs typeface="Helvetica"/>
          <a:sym typeface="Helvetica"/>
        </a:defRPr>
      </a:lvl9pPr>
    </p:titleStyle>
    <p:bodyStyle>
      <a:lvl1pPr marL="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1pPr>
      <a:lvl2pPr marL="18000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2pPr>
      <a:lvl3pPr marL="36000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3pPr>
      <a:lvl4pPr marL="54000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4pPr>
      <a:lvl5pPr marL="72000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5pPr>
      <a:lvl6pPr marL="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6pPr>
      <a:lvl7pPr marL="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7pPr>
      <a:lvl8pPr marL="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8pPr>
      <a:lvl9pPr marL="0" marR="0" indent="0" algn="l" defTabSz="228600" rtl="0" latinLnBrk="0">
        <a:lnSpc>
          <a:spcPts val="285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000" b="0" i="0" u="none" strike="noStrike" cap="none" spc="0" baseline="0">
          <a:solidFill>
            <a:srgbClr val="333E47"/>
          </a:solidFill>
          <a:uFillTx/>
          <a:latin typeface="Helvetica"/>
          <a:ea typeface="Helvetica"/>
          <a:cs typeface="Helvetica"/>
          <a:sym typeface="Helvetica"/>
        </a:defRPr>
      </a:lvl9pPr>
    </p:bodyStyle>
    <p:otherStyle>
      <a:lvl1pPr marL="0" marR="0" indent="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1143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2286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3429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4572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5715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6858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8001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914400" algn="ctr" defTabSz="41275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200" b="0" i="0" u="none" strike="noStrike" cap="none" spc="0" baseline="0"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9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NUL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86.png"/><Relationship Id="rId5" Type="http://schemas.openxmlformats.org/officeDocument/2006/relationships/image" Target="../media/image185.jpeg"/><Relationship Id="rId4" Type="http://schemas.openxmlformats.org/officeDocument/2006/relationships/image" Target="../media/image184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0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8.png"/><Relationship Id="rId1" Type="http://schemas.openxmlformats.org/officeDocument/2006/relationships/slideLayout" Target="../slideLayouts/slideLayout20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0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190.jpeg"/><Relationship Id="rId1" Type="http://schemas.openxmlformats.org/officeDocument/2006/relationships/slideLayout" Target="../slideLayouts/slideLayout4.xml"/><Relationship Id="rId4" Type="http://schemas.openxmlformats.org/officeDocument/2006/relationships/image" Target="NUL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18" Type="http://schemas.openxmlformats.org/officeDocument/2006/relationships/image" Target="../media/image75.png"/><Relationship Id="rId3" Type="http://schemas.openxmlformats.org/officeDocument/2006/relationships/image" Target="../media/image60.png"/><Relationship Id="rId21" Type="http://schemas.microsoft.com/office/2007/relationships/hdphoto" Target="../media/hdphoto1.wdp"/><Relationship Id="rId7" Type="http://schemas.openxmlformats.org/officeDocument/2006/relationships/image" Target="../media/image64.pn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73.png"/><Relationship Id="rId20" Type="http://schemas.openxmlformats.org/officeDocument/2006/relationships/image" Target="../media/image7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3.png"/><Relationship Id="rId11" Type="http://schemas.openxmlformats.org/officeDocument/2006/relationships/image" Target="../media/image68.png"/><Relationship Id="rId24" Type="http://schemas.openxmlformats.org/officeDocument/2006/relationships/image" Target="../media/image79.png"/><Relationship Id="rId5" Type="http://schemas.openxmlformats.org/officeDocument/2006/relationships/image" Target="../media/image62.png"/><Relationship Id="rId15" Type="http://schemas.openxmlformats.org/officeDocument/2006/relationships/image" Target="../media/image72.png"/><Relationship Id="rId23" Type="http://schemas.openxmlformats.org/officeDocument/2006/relationships/image" Target="../media/image78.png"/><Relationship Id="rId10" Type="http://schemas.openxmlformats.org/officeDocument/2006/relationships/image" Target="../media/image67.png"/><Relationship Id="rId19" Type="http://schemas.openxmlformats.org/officeDocument/2006/relationships/image" Target="../media/image2.png"/><Relationship Id="rId4" Type="http://schemas.openxmlformats.org/officeDocument/2006/relationships/image" Target="../media/image61.png"/><Relationship Id="rId9" Type="http://schemas.openxmlformats.org/officeDocument/2006/relationships/image" Target="../media/image66.png"/><Relationship Id="rId14" Type="http://schemas.openxmlformats.org/officeDocument/2006/relationships/image" Target="../media/image71.png"/><Relationship Id="rId22" Type="http://schemas.openxmlformats.org/officeDocument/2006/relationships/image" Target="../media/image77.png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03.png"/><Relationship Id="rId21" Type="http://schemas.openxmlformats.org/officeDocument/2006/relationships/image" Target="../media/image98.jpeg"/><Relationship Id="rId42" Type="http://schemas.openxmlformats.org/officeDocument/2006/relationships/image" Target="../media/image119.tiff"/><Relationship Id="rId47" Type="http://schemas.openxmlformats.org/officeDocument/2006/relationships/image" Target="../media/image124.tiff"/><Relationship Id="rId63" Type="http://schemas.openxmlformats.org/officeDocument/2006/relationships/image" Target="../media/image140.tiff"/><Relationship Id="rId68" Type="http://schemas.openxmlformats.org/officeDocument/2006/relationships/image" Target="../media/image145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93.png"/><Relationship Id="rId29" Type="http://schemas.openxmlformats.org/officeDocument/2006/relationships/image" Target="../media/image106.jpeg"/><Relationship Id="rId11" Type="http://schemas.openxmlformats.org/officeDocument/2006/relationships/image" Target="../media/image88.jpeg"/><Relationship Id="rId24" Type="http://schemas.openxmlformats.org/officeDocument/2006/relationships/image" Target="../media/image101.png"/><Relationship Id="rId32" Type="http://schemas.openxmlformats.org/officeDocument/2006/relationships/image" Target="../media/image109.jpeg"/><Relationship Id="rId37" Type="http://schemas.openxmlformats.org/officeDocument/2006/relationships/image" Target="../media/image114.tiff"/><Relationship Id="rId40" Type="http://schemas.openxmlformats.org/officeDocument/2006/relationships/image" Target="../media/image117.tiff"/><Relationship Id="rId45" Type="http://schemas.openxmlformats.org/officeDocument/2006/relationships/image" Target="../media/image122.tiff"/><Relationship Id="rId53" Type="http://schemas.openxmlformats.org/officeDocument/2006/relationships/image" Target="../media/image130.tiff"/><Relationship Id="rId58" Type="http://schemas.openxmlformats.org/officeDocument/2006/relationships/image" Target="../media/image135.tiff"/><Relationship Id="rId66" Type="http://schemas.openxmlformats.org/officeDocument/2006/relationships/image" Target="../media/image143.tiff"/><Relationship Id="rId74" Type="http://schemas.openxmlformats.org/officeDocument/2006/relationships/image" Target="../media/image151.jpeg"/><Relationship Id="rId5" Type="http://schemas.openxmlformats.org/officeDocument/2006/relationships/image" Target="../media/image82.png"/><Relationship Id="rId61" Type="http://schemas.openxmlformats.org/officeDocument/2006/relationships/image" Target="../media/image138.tiff"/><Relationship Id="rId19" Type="http://schemas.openxmlformats.org/officeDocument/2006/relationships/image" Target="../media/image96.jpeg"/><Relationship Id="rId14" Type="http://schemas.openxmlformats.org/officeDocument/2006/relationships/image" Target="../media/image91.png"/><Relationship Id="rId22" Type="http://schemas.openxmlformats.org/officeDocument/2006/relationships/image" Target="../media/image99.jpeg"/><Relationship Id="rId27" Type="http://schemas.openxmlformats.org/officeDocument/2006/relationships/image" Target="../media/image104.png"/><Relationship Id="rId30" Type="http://schemas.openxmlformats.org/officeDocument/2006/relationships/image" Target="../media/image107.png"/><Relationship Id="rId35" Type="http://schemas.openxmlformats.org/officeDocument/2006/relationships/image" Target="../media/image112.tiff"/><Relationship Id="rId43" Type="http://schemas.openxmlformats.org/officeDocument/2006/relationships/image" Target="../media/image120.tiff"/><Relationship Id="rId48" Type="http://schemas.openxmlformats.org/officeDocument/2006/relationships/image" Target="../media/image125.tiff"/><Relationship Id="rId56" Type="http://schemas.openxmlformats.org/officeDocument/2006/relationships/image" Target="../media/image133.tiff"/><Relationship Id="rId64" Type="http://schemas.openxmlformats.org/officeDocument/2006/relationships/image" Target="../media/image141.tiff"/><Relationship Id="rId69" Type="http://schemas.openxmlformats.org/officeDocument/2006/relationships/image" Target="../media/image146.jpeg"/><Relationship Id="rId8" Type="http://schemas.openxmlformats.org/officeDocument/2006/relationships/image" Target="../media/image85.png"/><Relationship Id="rId51" Type="http://schemas.openxmlformats.org/officeDocument/2006/relationships/image" Target="../media/image128.tiff"/><Relationship Id="rId72" Type="http://schemas.openxmlformats.org/officeDocument/2006/relationships/image" Target="../media/image149.png"/><Relationship Id="rId3" Type="http://schemas.openxmlformats.org/officeDocument/2006/relationships/image" Target="../media/image80.png"/><Relationship Id="rId12" Type="http://schemas.openxmlformats.org/officeDocument/2006/relationships/image" Target="../media/image89.png"/><Relationship Id="rId17" Type="http://schemas.openxmlformats.org/officeDocument/2006/relationships/image" Target="../media/image94.png"/><Relationship Id="rId25" Type="http://schemas.openxmlformats.org/officeDocument/2006/relationships/image" Target="../media/image102.jpeg"/><Relationship Id="rId33" Type="http://schemas.openxmlformats.org/officeDocument/2006/relationships/image" Target="../media/image110.png"/><Relationship Id="rId38" Type="http://schemas.openxmlformats.org/officeDocument/2006/relationships/image" Target="../media/image115.tiff"/><Relationship Id="rId46" Type="http://schemas.openxmlformats.org/officeDocument/2006/relationships/image" Target="../media/image123.tiff"/><Relationship Id="rId59" Type="http://schemas.openxmlformats.org/officeDocument/2006/relationships/image" Target="../media/image136.tiff"/><Relationship Id="rId67" Type="http://schemas.openxmlformats.org/officeDocument/2006/relationships/image" Target="../media/image144.png"/><Relationship Id="rId20" Type="http://schemas.openxmlformats.org/officeDocument/2006/relationships/image" Target="../media/image97.png"/><Relationship Id="rId41" Type="http://schemas.openxmlformats.org/officeDocument/2006/relationships/image" Target="../media/image118.tiff"/><Relationship Id="rId54" Type="http://schemas.openxmlformats.org/officeDocument/2006/relationships/image" Target="../media/image131.tiff"/><Relationship Id="rId62" Type="http://schemas.openxmlformats.org/officeDocument/2006/relationships/image" Target="../media/image139.tiff"/><Relationship Id="rId70" Type="http://schemas.openxmlformats.org/officeDocument/2006/relationships/image" Target="../media/image147.png"/><Relationship Id="rId75" Type="http://schemas.openxmlformats.org/officeDocument/2006/relationships/image" Target="../media/image152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83.png"/><Relationship Id="rId15" Type="http://schemas.openxmlformats.org/officeDocument/2006/relationships/image" Target="../media/image92.png"/><Relationship Id="rId23" Type="http://schemas.openxmlformats.org/officeDocument/2006/relationships/image" Target="../media/image100.png"/><Relationship Id="rId28" Type="http://schemas.openxmlformats.org/officeDocument/2006/relationships/image" Target="../media/image105.jpeg"/><Relationship Id="rId36" Type="http://schemas.openxmlformats.org/officeDocument/2006/relationships/image" Target="../media/image113.tiff"/><Relationship Id="rId49" Type="http://schemas.openxmlformats.org/officeDocument/2006/relationships/image" Target="../media/image126.tiff"/><Relationship Id="rId57" Type="http://schemas.openxmlformats.org/officeDocument/2006/relationships/image" Target="../media/image134.tiff"/><Relationship Id="rId10" Type="http://schemas.openxmlformats.org/officeDocument/2006/relationships/image" Target="../media/image87.jpeg"/><Relationship Id="rId31" Type="http://schemas.openxmlformats.org/officeDocument/2006/relationships/image" Target="../media/image108.png"/><Relationship Id="rId44" Type="http://schemas.openxmlformats.org/officeDocument/2006/relationships/image" Target="../media/image121.tiff"/><Relationship Id="rId52" Type="http://schemas.openxmlformats.org/officeDocument/2006/relationships/image" Target="../media/image129.tiff"/><Relationship Id="rId60" Type="http://schemas.openxmlformats.org/officeDocument/2006/relationships/image" Target="../media/image137.tiff"/><Relationship Id="rId65" Type="http://schemas.openxmlformats.org/officeDocument/2006/relationships/image" Target="../media/image142.tiff"/><Relationship Id="rId73" Type="http://schemas.openxmlformats.org/officeDocument/2006/relationships/image" Target="../media/image150.png"/><Relationship Id="rId4" Type="http://schemas.openxmlformats.org/officeDocument/2006/relationships/image" Target="../media/image81.png"/><Relationship Id="rId9" Type="http://schemas.openxmlformats.org/officeDocument/2006/relationships/image" Target="../media/image86.png"/><Relationship Id="rId13" Type="http://schemas.openxmlformats.org/officeDocument/2006/relationships/image" Target="../media/image90.jpeg"/><Relationship Id="rId18" Type="http://schemas.openxmlformats.org/officeDocument/2006/relationships/image" Target="../media/image95.png"/><Relationship Id="rId39" Type="http://schemas.openxmlformats.org/officeDocument/2006/relationships/image" Target="../media/image116.tiff"/><Relationship Id="rId34" Type="http://schemas.openxmlformats.org/officeDocument/2006/relationships/image" Target="../media/image111.png"/><Relationship Id="rId50" Type="http://schemas.openxmlformats.org/officeDocument/2006/relationships/image" Target="../media/image127.tiff"/><Relationship Id="rId55" Type="http://schemas.openxmlformats.org/officeDocument/2006/relationships/image" Target="../media/image132.tiff"/><Relationship Id="rId7" Type="http://schemas.openxmlformats.org/officeDocument/2006/relationships/image" Target="../media/image84.png"/><Relationship Id="rId71" Type="http://schemas.openxmlformats.org/officeDocument/2006/relationships/image" Target="../media/image148.gi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8.png"/><Relationship Id="rId13" Type="http://schemas.openxmlformats.org/officeDocument/2006/relationships/image" Target="../media/image163.png"/><Relationship Id="rId3" Type="http://schemas.openxmlformats.org/officeDocument/2006/relationships/image" Target="../media/image153.png"/><Relationship Id="rId7" Type="http://schemas.openxmlformats.org/officeDocument/2006/relationships/image" Target="../media/image157.png"/><Relationship Id="rId12" Type="http://schemas.openxmlformats.org/officeDocument/2006/relationships/image" Target="../media/image16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56.png"/><Relationship Id="rId11" Type="http://schemas.openxmlformats.org/officeDocument/2006/relationships/image" Target="../media/image161.png"/><Relationship Id="rId5" Type="http://schemas.openxmlformats.org/officeDocument/2006/relationships/image" Target="../media/image155.png"/><Relationship Id="rId15" Type="http://schemas.openxmlformats.org/officeDocument/2006/relationships/image" Target="../media/image165.png"/><Relationship Id="rId10" Type="http://schemas.openxmlformats.org/officeDocument/2006/relationships/image" Target="../media/image160.png"/><Relationship Id="rId4" Type="http://schemas.openxmlformats.org/officeDocument/2006/relationships/image" Target="../media/image154.png"/><Relationship Id="rId9" Type="http://schemas.openxmlformats.org/officeDocument/2006/relationships/image" Target="../media/image159.png"/><Relationship Id="rId14" Type="http://schemas.openxmlformats.org/officeDocument/2006/relationships/image" Target="../media/image16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1.png"/><Relationship Id="rId3" Type="http://schemas.openxmlformats.org/officeDocument/2006/relationships/image" Target="../media/image166.png"/><Relationship Id="rId7" Type="http://schemas.openxmlformats.org/officeDocument/2006/relationships/image" Target="../media/image17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69.png"/><Relationship Id="rId5" Type="http://schemas.openxmlformats.org/officeDocument/2006/relationships/image" Target="../media/image168.png"/><Relationship Id="rId4" Type="http://schemas.openxmlformats.org/officeDocument/2006/relationships/image" Target="../media/image167.png"/><Relationship Id="rId9" Type="http://schemas.openxmlformats.org/officeDocument/2006/relationships/image" Target="../media/image17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3.emf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0.png"/><Relationship Id="rId3" Type="http://schemas.openxmlformats.org/officeDocument/2006/relationships/image" Target="../media/image175.png"/><Relationship Id="rId7" Type="http://schemas.openxmlformats.org/officeDocument/2006/relationships/image" Target="../media/image179.svg"/><Relationship Id="rId2" Type="http://schemas.openxmlformats.org/officeDocument/2006/relationships/image" Target="../media/image174.png"/><Relationship Id="rId1" Type="http://schemas.openxmlformats.org/officeDocument/2006/relationships/slideLayout" Target="../slideLayouts/slideLayout186.xml"/><Relationship Id="rId6" Type="http://schemas.openxmlformats.org/officeDocument/2006/relationships/image" Target="../media/image178.png"/><Relationship Id="rId5" Type="http://schemas.openxmlformats.org/officeDocument/2006/relationships/image" Target="../media/image177.png"/><Relationship Id="rId10" Type="http://schemas.openxmlformats.org/officeDocument/2006/relationships/hyperlink" Target="https://event.on24.com/eventRegistration/EventLobbyServlet?target=reg20.jsp&amp;partnerref=web&amp;eventid=3004306&amp;sessionid=1&amp;key=F098A4452523F3AA0101D41EB91DD232&amp;regTag=2063753&amp;V2=false&amp;sourcepage=register" TargetMode="External"/><Relationship Id="rId4" Type="http://schemas.openxmlformats.org/officeDocument/2006/relationships/image" Target="../media/image176.png"/><Relationship Id="rId9" Type="http://schemas.openxmlformats.org/officeDocument/2006/relationships/image" Target="../media/image181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3.png"/><Relationship Id="rId2" Type="http://schemas.openxmlformats.org/officeDocument/2006/relationships/image" Target="../media/image182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ship&#10;&#10;Description automatically generated">
            <a:extLst>
              <a:ext uri="{FF2B5EF4-FFF2-40B4-BE49-F238E27FC236}">
                <a16:creationId xmlns:a16="http://schemas.microsoft.com/office/drawing/2014/main" id="{22CC1F17-BF0B-4F08-9A55-3A1CB90D565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2A2A891-8104-470F-A61B-3D2512935C4D}"/>
              </a:ext>
            </a:extLst>
          </p:cNvPr>
          <p:cNvGrpSpPr/>
          <p:nvPr/>
        </p:nvGrpSpPr>
        <p:grpSpPr>
          <a:xfrm rot="5400000">
            <a:off x="511227" y="5756866"/>
            <a:ext cx="607465" cy="472392"/>
            <a:chOff x="1748589" y="1140618"/>
            <a:chExt cx="1233488" cy="959216"/>
          </a:xfrm>
        </p:grpSpPr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046EFEBD-AB27-4306-B5B5-E7D88F0921D6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3" name="Rectangle: Rounded Corners 22">
              <a:extLst>
                <a:ext uri="{FF2B5EF4-FFF2-40B4-BE49-F238E27FC236}">
                  <a16:creationId xmlns:a16="http://schemas.microsoft.com/office/drawing/2014/main" id="{A31CCE34-C4E3-4BB7-9F8E-C397EE39A588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24" name="Rectangle: Rounded Corners 23">
              <a:extLst>
                <a:ext uri="{FF2B5EF4-FFF2-40B4-BE49-F238E27FC236}">
                  <a16:creationId xmlns:a16="http://schemas.microsoft.com/office/drawing/2014/main" id="{2E3A43FB-517E-4A68-AA31-EA2F8F6D3754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78E4EE3-7785-4136-B36C-4702CB6F2C0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4931" y="678557"/>
            <a:ext cx="1828362" cy="52521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6D99903-6E4C-BF4A-BE03-291B4D52A2DC}"/>
              </a:ext>
            </a:extLst>
          </p:cNvPr>
          <p:cNvSpPr txBox="1"/>
          <p:nvPr/>
        </p:nvSpPr>
        <p:spPr>
          <a:xfrm>
            <a:off x="1735810" y="4510006"/>
            <a:ext cx="914400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endParaRPr lang="en-US" sz="2800" dirty="0" err="1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58A7EFA-1662-D24A-83F9-3568C7F589CD}"/>
              </a:ext>
            </a:extLst>
          </p:cNvPr>
          <p:cNvSpPr txBox="1"/>
          <p:nvPr/>
        </p:nvSpPr>
        <p:spPr>
          <a:xfrm>
            <a:off x="1209652" y="5596315"/>
            <a:ext cx="10293742" cy="91440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r>
              <a:rPr lang="en-GB" sz="2000" b="1" dirty="0">
                <a:solidFill>
                  <a:schemeClr val="bg1"/>
                </a:solidFill>
              </a:rPr>
              <a:t>Messaging Webinar Series: </a:t>
            </a:r>
            <a:br>
              <a:rPr lang="en-GB" sz="2000" dirty="0">
                <a:solidFill>
                  <a:schemeClr val="bg1"/>
                </a:solidFill>
              </a:rPr>
            </a:br>
            <a:r>
              <a:rPr lang="en-GB" sz="2000" dirty="0">
                <a:solidFill>
                  <a:schemeClr val="bg1"/>
                </a:solidFill>
              </a:rPr>
              <a:t>The Future Of Messaging - How Companies Should Prepare For The Next-Generation Of Messaging</a:t>
            </a:r>
            <a:endParaRPr lang="en-US" sz="2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3011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69168" y="489228"/>
            <a:ext cx="10755986" cy="495810"/>
          </a:xfrm>
        </p:spPr>
        <p:txBody>
          <a:bodyPr anchor="ctr">
            <a:noAutofit/>
          </a:bodyPr>
          <a:lstStyle/>
          <a:p>
            <a:pPr>
              <a:spcBef>
                <a:spcPts val="587"/>
              </a:spcBef>
              <a:buSzPct val="100000"/>
            </a:pPr>
            <a:r>
              <a:rPr lang="en-GB" sz="2000" b="0" dirty="0">
                <a:solidFill>
                  <a:srgbClr val="1A76BC"/>
                </a:solidFill>
              </a:rPr>
              <a:t>Messaging Webinar Series: </a:t>
            </a:r>
            <a:br>
              <a:rPr lang="en-GB" sz="2000" dirty="0">
                <a:solidFill>
                  <a:srgbClr val="1A76BC"/>
                </a:solidFill>
              </a:rPr>
            </a:br>
            <a:r>
              <a:rPr lang="en-GB" sz="2000" dirty="0">
                <a:solidFill>
                  <a:srgbClr val="1A76BC"/>
                </a:solidFill>
              </a:rPr>
              <a:t>The Future Of Messaging - How Companies Should Prepare For The Next-Generation Of Messaging</a:t>
            </a:r>
            <a:endParaRPr lang="en-US" sz="2000" dirty="0">
              <a:solidFill>
                <a:srgbClr val="1A76BC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8C8C95C-D84B-9D4C-BF6C-F55BB471588C}"/>
              </a:ext>
            </a:extLst>
          </p:cNvPr>
          <p:cNvSpPr/>
          <p:nvPr/>
        </p:nvSpPr>
        <p:spPr>
          <a:xfrm>
            <a:off x="9590567" y="5528930"/>
            <a:ext cx="2601433" cy="13290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PL"/>
          </a:p>
        </p:txBody>
      </p:sp>
      <p:sp>
        <p:nvSpPr>
          <p:cNvPr id="17" name="Rectangle: Diagonal Corners Rounded 5">
            <a:extLst>
              <a:ext uri="{FF2B5EF4-FFF2-40B4-BE49-F238E27FC236}">
                <a16:creationId xmlns:a16="http://schemas.microsoft.com/office/drawing/2014/main" id="{457F0272-AE18-8846-B081-364F08FE1184}"/>
              </a:ext>
            </a:extLst>
          </p:cNvPr>
          <p:cNvSpPr/>
          <p:nvPr/>
        </p:nvSpPr>
        <p:spPr>
          <a:xfrm>
            <a:off x="359234" y="4918880"/>
            <a:ext cx="11461956" cy="1632053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PH" sz="3200" b="1" dirty="0">
                <a:solidFill>
                  <a:schemeClr val="bg1"/>
                </a:solidFill>
              </a:rPr>
              <a:t>Bruno Henriques</a:t>
            </a:r>
          </a:p>
          <a:p>
            <a:pPr algn="ctr"/>
            <a:r>
              <a:rPr lang="en-PH" sz="2400" dirty="0">
                <a:solidFill>
                  <a:schemeClr val="bg1"/>
                </a:solidFill>
              </a:rPr>
              <a:t>VP of Innovation and Growth and AI</a:t>
            </a:r>
          </a:p>
          <a:p>
            <a:pPr algn="ctr"/>
            <a:r>
              <a:rPr lang="en-PH" sz="2400" b="1" dirty="0" err="1">
                <a:solidFill>
                  <a:schemeClr val="bg1"/>
                </a:solidFill>
              </a:rPr>
              <a:t>iFood</a:t>
            </a:r>
            <a:endParaRPr lang="en-PH" sz="2400" b="1" dirty="0">
              <a:solidFill>
                <a:schemeClr val="bg1"/>
              </a:solidFill>
            </a:endParaRPr>
          </a:p>
        </p:txBody>
      </p:sp>
      <p:sp>
        <p:nvSpPr>
          <p:cNvPr id="18" name="Rectangle: Diagonal Corners Rounded 20">
            <a:extLst>
              <a:ext uri="{FF2B5EF4-FFF2-40B4-BE49-F238E27FC236}">
                <a16:creationId xmlns:a16="http://schemas.microsoft.com/office/drawing/2014/main" id="{070E7C3D-2590-5148-8701-5E8443047BFF}"/>
              </a:ext>
            </a:extLst>
          </p:cNvPr>
          <p:cNvSpPr/>
          <p:nvPr/>
        </p:nvSpPr>
        <p:spPr>
          <a:xfrm>
            <a:off x="359234" y="1447444"/>
            <a:ext cx="11461956" cy="1657622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cs typeface="Calibri"/>
              </a:rPr>
              <a:t>Brenda Fackler</a:t>
            </a:r>
          </a:p>
          <a:p>
            <a:pPr algn="ctr"/>
            <a:r>
              <a:rPr lang="en-US" sz="2400" dirty="0">
                <a:cs typeface="Calibri"/>
              </a:rPr>
              <a:t>Global VP, Client Services </a:t>
            </a:r>
          </a:p>
          <a:p>
            <a:pPr algn="ctr"/>
            <a:r>
              <a:rPr lang="en-US" sz="2400" b="1" dirty="0">
                <a:cs typeface="Calibri"/>
              </a:rPr>
              <a:t>Sinch for Marketing</a:t>
            </a:r>
          </a:p>
        </p:txBody>
      </p:sp>
      <p:sp>
        <p:nvSpPr>
          <p:cNvPr id="19" name="Rectangle: Diagonal Corners Rounded 5">
            <a:extLst>
              <a:ext uri="{FF2B5EF4-FFF2-40B4-BE49-F238E27FC236}">
                <a16:creationId xmlns:a16="http://schemas.microsoft.com/office/drawing/2014/main" id="{8D75103A-D13A-2949-86B0-03B700D789EF}"/>
              </a:ext>
            </a:extLst>
          </p:cNvPr>
          <p:cNvSpPr/>
          <p:nvPr/>
        </p:nvSpPr>
        <p:spPr>
          <a:xfrm>
            <a:off x="359234" y="3201415"/>
            <a:ext cx="11461956" cy="1632053"/>
          </a:xfrm>
          <a:prstGeom prst="round2DiagRect">
            <a:avLst/>
          </a:prstGeom>
          <a:solidFill>
            <a:srgbClr val="0072BA"/>
          </a:solidFill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3200" b="1" dirty="0">
                <a:cs typeface="Calibri"/>
              </a:rPr>
              <a:t>Julie Ask</a:t>
            </a:r>
          </a:p>
          <a:p>
            <a:pPr algn="ctr"/>
            <a:r>
              <a:rPr lang="en-US" sz="2400" dirty="0">
                <a:cs typeface="Calibri"/>
              </a:rPr>
              <a:t>Vice President &amp; Principal Analyst</a:t>
            </a:r>
          </a:p>
          <a:p>
            <a:pPr algn="ctr"/>
            <a:r>
              <a:rPr lang="en-US" sz="2400" b="1" dirty="0">
                <a:cs typeface="Calibri"/>
              </a:rPr>
              <a:t>Forrester Research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024C117-223F-FD41-80B7-D62A376D14B3}"/>
              </a:ext>
            </a:extLst>
          </p:cNvPr>
          <p:cNvSpPr txBox="1"/>
          <p:nvPr/>
        </p:nvSpPr>
        <p:spPr>
          <a:xfrm>
            <a:off x="3615070" y="6762307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457200" indent="-457200">
              <a:spcBef>
                <a:spcPts val="587"/>
              </a:spcBef>
              <a:buSzPct val="100000"/>
              <a:buBlip>
                <a:blip r:embed="rId3"/>
              </a:buBlip>
            </a:pPr>
            <a:endParaRPr lang="en-PL" sz="2800" dirty="0" err="1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1B7E452-AB6B-BC42-9D24-6A8755E9494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" b="75"/>
          <a:stretch/>
        </p:blipFill>
        <p:spPr>
          <a:xfrm>
            <a:off x="10291850" y="5136373"/>
            <a:ext cx="1198865" cy="1197065"/>
          </a:xfrm>
          <a:prstGeom prst="ellipse">
            <a:avLst/>
          </a:prstGeom>
          <a:ln>
            <a:solidFill>
              <a:srgbClr val="FFBE4E"/>
            </a:solidFill>
          </a:ln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81EBCDA-3405-F244-A67E-622F7BF8BE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48" r="12548"/>
          <a:stretch/>
        </p:blipFill>
        <p:spPr>
          <a:xfrm>
            <a:off x="10288213" y="3429000"/>
            <a:ext cx="1202502" cy="1202502"/>
          </a:xfrm>
          <a:prstGeom prst="ellipse">
            <a:avLst/>
          </a:prstGeom>
          <a:ln>
            <a:solidFill>
              <a:srgbClr val="FFBE4E"/>
            </a:solidFill>
          </a:ln>
        </p:spPr>
      </p:pic>
      <p:pic>
        <p:nvPicPr>
          <p:cNvPr id="12" name="Picture 2" descr="Brenda Fackler">
            <a:extLst>
              <a:ext uri="{FF2B5EF4-FFF2-40B4-BE49-F238E27FC236}">
                <a16:creationId xmlns:a16="http://schemas.microsoft.com/office/drawing/2014/main" id="{A1DBDDBC-0F1C-8F41-A5D5-59BFF82D18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17" r="6322"/>
          <a:stretch/>
        </p:blipFill>
        <p:spPr bwMode="auto">
          <a:xfrm>
            <a:off x="10306687" y="1664107"/>
            <a:ext cx="1221154" cy="1224295"/>
          </a:xfrm>
          <a:prstGeom prst="ellipse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20529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B2B8CE5-CE60-344B-8B66-4D69ECE73222}"/>
              </a:ext>
            </a:extLst>
          </p:cNvPr>
          <p:cNvSpPr txBox="1"/>
          <p:nvPr/>
        </p:nvSpPr>
        <p:spPr>
          <a:xfrm>
            <a:off x="396949" y="775079"/>
            <a:ext cx="11398103" cy="50526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Messaging apps include your SMS inbox and OTT apps like What’s App, Facebook Messenger, Apple business chat, Viber, Line among others. </a:t>
            </a:r>
          </a:p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3  billion monthly users accessing OTT messaging apps (eMarketer)</a:t>
            </a:r>
          </a:p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100 billion daily messages sent via Facebook’s What’s App, Messenger and Instagram (Facebook)</a:t>
            </a:r>
          </a:p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onsumers are using messaging apps for customer service and marketing</a:t>
            </a:r>
          </a:p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There has been a pandemic-inspired increase in mobile messaging usage with 68% of consumers using mobile messaging for the first time to interact with brands</a:t>
            </a:r>
          </a:p>
          <a:p>
            <a:pPr marL="228600" indent="-228600" defTabSz="412750" hangingPunct="0">
              <a:buSzPct val="125000"/>
              <a:buFont typeface="Arial" panose="020B0604020202020204" pitchFamily="34" charset="0"/>
              <a:buChar char="•"/>
            </a:pPr>
            <a:r>
              <a:rPr lang="en-US" sz="2400" kern="0" dirty="0">
                <a:solidFill>
                  <a:srgbClr val="FFFFFF"/>
                </a:solidFill>
                <a:latin typeface="Helvetica Neue"/>
                <a:ea typeface="Helvetica Neue"/>
                <a:cs typeface="Helvetica Neue"/>
                <a:sym typeface="Helvetica Neue"/>
              </a:rPr>
              <a:t>Chat penetration predicted to reach almost 40% by 2024 capturing142 billion in retail dollars (eMarketer)</a:t>
            </a:r>
          </a:p>
          <a:p>
            <a:pPr defTabSz="412750" hangingPunct="0"/>
            <a:endParaRPr lang="en-US" sz="2400" b="1"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endParaRPr lang="en-US" sz="2200" b="1"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  <a:p>
            <a:pPr marL="228600" indent="-228600" defTabSz="412750" hangingPunct="0">
              <a:buFont typeface="Arial" panose="020B0604020202020204" pitchFamily="34" charset="0"/>
              <a:buChar char="•"/>
            </a:pPr>
            <a:endParaRPr lang="en-US" sz="1500" b="1" kern="0" dirty="0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4" name="Picture 3" descr="Logo&#10;&#10;Description automatically generated">
            <a:extLst>
              <a:ext uri="{FF2B5EF4-FFF2-40B4-BE49-F238E27FC236}">
                <a16:creationId xmlns:a16="http://schemas.microsoft.com/office/drawing/2014/main" id="{348D8E63-A515-AE4C-B9F2-2F7F11F16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9762" y="5694062"/>
            <a:ext cx="2666712" cy="87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7699947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9A2EF8-74A9-B745-B079-E77B07E367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085" y="605540"/>
            <a:ext cx="10510355" cy="691528"/>
          </a:xfrm>
        </p:spPr>
        <p:txBody>
          <a:bodyPr/>
          <a:lstStyle/>
          <a:p>
            <a:r>
              <a:rPr lang="en-US" dirty="0"/>
              <a:t>Sinch creates compelling customer experiences across formats</a:t>
            </a:r>
          </a:p>
        </p:txBody>
      </p:sp>
      <p:pic>
        <p:nvPicPr>
          <p:cNvPr id="4" name="Picture 3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1C212564-1F96-3A4A-AD3B-77E68EFF73A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50" y="1696316"/>
            <a:ext cx="12045950" cy="4400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696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">
        <p:fade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ECBE425-64FA-514F-99CE-5D511B708B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193800" y="2786598"/>
            <a:ext cx="3719052" cy="1253292"/>
          </a:xfrm>
        </p:spPr>
        <p:txBody>
          <a:bodyPr/>
          <a:lstStyle/>
          <a:p>
            <a:r>
              <a:rPr lang="en-US" sz="3000" dirty="0"/>
              <a:t>Creating frictionless customer experienc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D8B3C81-F7C8-0D4C-A65B-C07719E51F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765303" y="2716486"/>
            <a:ext cx="2724827" cy="442044"/>
          </a:xfrm>
        </p:spPr>
        <p:txBody>
          <a:bodyPr/>
          <a:lstStyle/>
          <a:p>
            <a:r>
              <a:rPr lang="en-US" dirty="0"/>
              <a:t>Conversation API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27397A3-FBF4-724F-9B9F-3995480E1C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90130" y="2716486"/>
            <a:ext cx="3154584" cy="813941"/>
          </a:xfrm>
        </p:spPr>
        <p:txBody>
          <a:bodyPr/>
          <a:lstStyle/>
          <a:p>
            <a:r>
              <a:rPr lang="en-US" dirty="0"/>
              <a:t>Conversational Messaging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72802DB-F7C5-D94B-BA0E-33DC275520A8}"/>
              </a:ext>
            </a:extLst>
          </p:cNvPr>
          <p:cNvSpPr>
            <a:spLocks noGrp="1"/>
          </p:cNvSpPr>
          <p:nvPr>
            <p:ph type="body" sz="quarter" idx="1"/>
          </p:nvPr>
        </p:nvSpPr>
        <p:spPr>
          <a:xfrm>
            <a:off x="5765800" y="3146005"/>
            <a:ext cx="2724827" cy="173553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single API for all channe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ich media enabled and next-generation read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Unified conversation history even when users switch channel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BAB4564-6652-6846-A361-20C9A5EDB92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629012" y="3146005"/>
            <a:ext cx="3237868" cy="1735537"/>
          </a:xfrm>
        </p:spPr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2-way messaging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Natural language understanding &amp; AI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Rich source of customer data &amp; feedb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Increase customer satisfac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utomate repetitive inqui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537BF2DD-9D77-E949-9047-B00E443D9CEC}"/>
              </a:ext>
            </a:extLst>
          </p:cNvPr>
          <p:cNvSpPr/>
          <p:nvPr/>
        </p:nvSpPr>
        <p:spPr>
          <a:xfrm>
            <a:off x="7571299" y="1237639"/>
            <a:ext cx="375697" cy="24622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412750" hangingPunct="0"/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69D8360F-74DD-0848-AF44-B6659411457B}"/>
              </a:ext>
            </a:extLst>
          </p:cNvPr>
          <p:cNvSpPr/>
          <p:nvPr/>
        </p:nvSpPr>
        <p:spPr>
          <a:xfrm>
            <a:off x="7157168" y="6147633"/>
            <a:ext cx="828261" cy="246221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algn="ctr" defTabSz="412750" hangingPunct="0"/>
            <a:endParaRPr lang="en-US" sz="1600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D44F903-DCB9-0D4B-B947-FBEDCF703B11}"/>
              </a:ext>
            </a:extLst>
          </p:cNvPr>
          <p:cNvSpPr txBox="1"/>
          <p:nvPr/>
        </p:nvSpPr>
        <p:spPr>
          <a:xfrm>
            <a:off x="8092806" y="6246518"/>
            <a:ext cx="655399" cy="282129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25400" tIns="25400" rIns="25400" bIns="25400" numCol="1" spcCol="38100" rtlCol="0" anchor="ctr">
            <a:spAutoFit/>
          </a:bodyPr>
          <a:lstStyle/>
          <a:p>
            <a:pPr algn="ctr" defTabSz="412750" hangingPunct="0"/>
            <a:endParaRPr lang="en-US" sz="1500" b="1" kern="0" dirty="0">
              <a:solidFill>
                <a:srgbClr val="000000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pic>
        <p:nvPicPr>
          <p:cNvPr id="46" name="Picture 45">
            <a:extLst>
              <a:ext uri="{FF2B5EF4-FFF2-40B4-BE49-F238E27FC236}">
                <a16:creationId xmlns:a16="http://schemas.microsoft.com/office/drawing/2014/main" id="{F67451AB-214B-C444-AA2F-8EF1019B926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289762" y="5694062"/>
            <a:ext cx="2666711" cy="870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966852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2E25B-C3E9-E24A-AD57-505E45055E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PH" dirty="0">
                <a:cs typeface="Gotham Bold" pitchFamily="50" charset="0"/>
              </a:rPr>
              <a:t>Asking Questions, Sharing Insights</a:t>
            </a:r>
            <a:endParaRPr lang="en-P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D4B65E-9CB5-4749-A33D-2B992330EEEB}"/>
              </a:ext>
            </a:extLst>
          </p:cNvPr>
          <p:cNvSpPr txBox="1">
            <a:spLocks/>
          </p:cNvSpPr>
          <p:nvPr/>
        </p:nvSpPr>
        <p:spPr>
          <a:xfrm>
            <a:off x="5364481" y="6306902"/>
            <a:ext cx="6945708" cy="396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B75B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#MMA   #</a:t>
            </a:r>
            <a:r>
              <a:rPr lang="en-US" sz="2400" dirty="0" err="1">
                <a:solidFill>
                  <a:schemeClr val="bg1"/>
                </a:solidFill>
              </a:rPr>
              <a:t>WeAreInItTogether</a:t>
            </a:r>
            <a:r>
              <a:rPr lang="en-US" sz="2400" dirty="0">
                <a:solidFill>
                  <a:schemeClr val="bg1"/>
                </a:solidFill>
              </a:rPr>
              <a:t>    #</a:t>
            </a:r>
            <a:r>
              <a:rPr lang="en-US" sz="2400" dirty="0" err="1">
                <a:solidFill>
                  <a:schemeClr val="bg1"/>
                </a:solidFill>
              </a:rPr>
              <a:t>ShapeTheFuture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204143DB-3941-0A4E-90FB-0B75D6491C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207" y="1965695"/>
            <a:ext cx="4224535" cy="1494124"/>
          </a:xfrm>
          <a:prstGeom prst="rect">
            <a:avLst/>
          </a:prstGeom>
          <a:effectLst>
            <a:outerShdw blurRad="368300" dist="50800" dir="5400000" sx="102000" sy="102000" algn="ctr" rotWithShape="0">
              <a:srgbClr val="000000">
                <a:alpha val="89000"/>
              </a:srgbClr>
            </a:outerShdw>
          </a:effec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DC805C2-6A4C-8146-84E9-4D4D2DF480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49818" flipH="1">
            <a:off x="4172018" y="5464475"/>
            <a:ext cx="1396055" cy="107115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E0CA129-A238-E14E-85FA-DFFEDC398226}"/>
              </a:ext>
            </a:extLst>
          </p:cNvPr>
          <p:cNvSpPr/>
          <p:nvPr/>
        </p:nvSpPr>
        <p:spPr>
          <a:xfrm rot="21226210">
            <a:off x="4604218" y="5405614"/>
            <a:ext cx="56778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/>
              <a:t>#</a:t>
            </a:r>
            <a:endParaRPr lang="en-PL" sz="6000" dirty="0"/>
          </a:p>
        </p:txBody>
      </p:sp>
    </p:spTree>
    <p:extLst>
      <p:ext uri="{BB962C8B-B14F-4D97-AF65-F5344CB8AC3E}">
        <p14:creationId xmlns:p14="http://schemas.microsoft.com/office/powerpoint/2010/main" val="1263034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F17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18D8B2AA-BA19-4586-AFC5-D86868393C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4827577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2B25DDAB-0C34-4D0C-B26F-F8E45BAD084F}"/>
              </a:ext>
            </a:extLst>
          </p:cNvPr>
          <p:cNvGrpSpPr/>
          <p:nvPr/>
        </p:nvGrpSpPr>
        <p:grpSpPr>
          <a:xfrm>
            <a:off x="578764" y="3525018"/>
            <a:ext cx="9597060" cy="623572"/>
            <a:chOff x="594004" y="5582649"/>
            <a:chExt cx="9597060" cy="623572"/>
          </a:xfrm>
        </p:grpSpPr>
        <p:sp>
          <p:nvSpPr>
            <p:cNvPr id="20" name="Text Placeholder 4">
              <a:extLst>
                <a:ext uri="{FF2B5EF4-FFF2-40B4-BE49-F238E27FC236}">
                  <a16:creationId xmlns:a16="http://schemas.microsoft.com/office/drawing/2014/main" id="{0C034E31-0E23-4D88-ADE5-7EA2720497A6}"/>
                </a:ext>
              </a:extLst>
            </p:cNvPr>
            <p:cNvSpPr txBox="1">
              <a:spLocks/>
            </p:cNvSpPr>
            <p:nvPr/>
          </p:nvSpPr>
          <p:spPr>
            <a:xfrm>
              <a:off x="1334032" y="5600188"/>
              <a:ext cx="8857032" cy="606033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ctr" defTabSz="914400" rtl="0" eaLnBrk="1" latinLnBrk="0" hangingPunct="1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None/>
                <a:defRPr lang="en-US" sz="4800" kern="1200" smtClean="0">
                  <a:solidFill>
                    <a:schemeClr val="accent1"/>
                  </a:solidFill>
                  <a:latin typeface="Gotham Black" pitchFamily="50" charset="0"/>
                  <a:ea typeface="+mj-ea"/>
                  <a:cs typeface="Gotham Black" pitchFamily="50" charset="0"/>
                </a:defRPr>
              </a:lvl1pPr>
              <a:lvl2pPr marL="228542" indent="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None/>
                <a:defRPr lang="en-US" sz="1867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867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US" sz="1800" kern="120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lang="en-IN"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l"/>
              <a:r>
                <a:rPr lang="en-PH" sz="4200" dirty="0">
                  <a:solidFill>
                    <a:schemeClr val="bg1"/>
                  </a:solidFill>
                  <a:latin typeface="+mn-lt"/>
                  <a:cs typeface="Gotham-MediumItalic" pitchFamily="50" charset="0"/>
                </a:rPr>
                <a:t>Thank you!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C2A2A891-8104-470F-A61B-3D2512935C4D}"/>
                </a:ext>
              </a:extLst>
            </p:cNvPr>
            <p:cNvGrpSpPr/>
            <p:nvPr/>
          </p:nvGrpSpPr>
          <p:grpSpPr>
            <a:xfrm rot="5400000">
              <a:off x="526467" y="5650186"/>
              <a:ext cx="607465" cy="472392"/>
              <a:chOff x="1748589" y="1140618"/>
              <a:chExt cx="1233488" cy="959216"/>
            </a:xfrm>
          </p:grpSpPr>
          <p:sp>
            <p:nvSpPr>
              <p:cNvPr id="22" name="Rectangle: Rounded Corners 21">
                <a:extLst>
                  <a:ext uri="{FF2B5EF4-FFF2-40B4-BE49-F238E27FC236}">
                    <a16:creationId xmlns:a16="http://schemas.microsoft.com/office/drawing/2014/main" id="{046EFEBD-AB27-4306-B5B5-E7D88F0921D6}"/>
                  </a:ext>
                </a:extLst>
              </p:cNvPr>
              <p:cNvSpPr/>
              <p:nvPr userDrawn="1"/>
            </p:nvSpPr>
            <p:spPr>
              <a:xfrm>
                <a:off x="1748589" y="1140618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rgbClr val="F370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23" name="Rectangle: Rounded Corners 22">
                <a:extLst>
                  <a:ext uri="{FF2B5EF4-FFF2-40B4-BE49-F238E27FC236}">
                    <a16:creationId xmlns:a16="http://schemas.microsoft.com/office/drawing/2014/main" id="{A31CCE34-C4E3-4BB7-9F8E-C397EE39A588}"/>
                  </a:ext>
                </a:extLst>
              </p:cNvPr>
              <p:cNvSpPr/>
              <p:nvPr userDrawn="1"/>
            </p:nvSpPr>
            <p:spPr>
              <a:xfrm>
                <a:off x="1748589" y="1516642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  <p:sp>
            <p:nvSpPr>
              <p:cNvPr id="24" name="Rectangle: Rounded Corners 23">
                <a:extLst>
                  <a:ext uri="{FF2B5EF4-FFF2-40B4-BE49-F238E27FC236}">
                    <a16:creationId xmlns:a16="http://schemas.microsoft.com/office/drawing/2014/main" id="{2E3A43FB-517E-4A68-AA31-EA2F8F6D3754}"/>
                  </a:ext>
                </a:extLst>
              </p:cNvPr>
              <p:cNvSpPr/>
              <p:nvPr userDrawn="1"/>
            </p:nvSpPr>
            <p:spPr>
              <a:xfrm>
                <a:off x="1748589" y="1892666"/>
                <a:ext cx="1233488" cy="207168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800" dirty="0"/>
              </a:p>
            </p:txBody>
          </p:sp>
        </p:grp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278E4EE3-7785-4136-B36C-4702CB6F2C0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04931" y="983120"/>
            <a:ext cx="1828362" cy="52521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C2479071-362A-8B4D-81B9-0010804BF57B}"/>
              </a:ext>
            </a:extLst>
          </p:cNvPr>
          <p:cNvSpPr/>
          <p:nvPr/>
        </p:nvSpPr>
        <p:spPr>
          <a:xfrm>
            <a:off x="3341240" y="5465109"/>
            <a:ext cx="885076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xt-Gen Identity: </a:t>
            </a:r>
            <a:r>
              <a:rPr lang="en-GB" sz="2200" b="1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veRamp</a:t>
            </a:r>
            <a:r>
              <a:rPr lang="en-GB" sz="2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Product Overview</a:t>
            </a:r>
            <a:endParaRPr lang="en-GB" sz="2200" b="1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DBABC10-DDD1-824F-9FA2-6245532B0FC2}"/>
              </a:ext>
            </a:extLst>
          </p:cNvPr>
          <p:cNvSpPr txBox="1"/>
          <p:nvPr/>
        </p:nvSpPr>
        <p:spPr>
          <a:xfrm>
            <a:off x="10042902" y="5827363"/>
            <a:ext cx="0" cy="0"/>
          </a:xfrm>
          <a:prstGeom prst="rect">
            <a:avLst/>
          </a:prstGeom>
        </p:spPr>
        <p:txBody>
          <a:bodyPr wrap="none" rtlCol="0">
            <a:noAutofit/>
          </a:bodyPr>
          <a:lstStyle/>
          <a:p>
            <a:pPr marL="457200" indent="-457200">
              <a:spcBef>
                <a:spcPts val="587"/>
              </a:spcBef>
              <a:buSzPct val="100000"/>
              <a:buBlip>
                <a:blip r:embed="rId4"/>
              </a:buBlip>
            </a:pPr>
            <a:endParaRPr lang="en-GB" sz="2800" dirty="0" err="1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15903BC-E595-FA4F-95DE-956F74C780F2}"/>
              </a:ext>
            </a:extLst>
          </p:cNvPr>
          <p:cNvSpPr/>
          <p:nvPr/>
        </p:nvSpPr>
        <p:spPr>
          <a:xfrm>
            <a:off x="3341240" y="5179301"/>
            <a:ext cx="885076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p Next:</a:t>
            </a:r>
            <a:endParaRPr lang="en-GB" u="none" strike="noStrike" dirty="0">
              <a:solidFill>
                <a:schemeClr val="bg1"/>
              </a:solidFill>
              <a:effectLst/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70CD7A-DDCD-884C-AE63-50310F9DDA1D}"/>
              </a:ext>
            </a:extLst>
          </p:cNvPr>
          <p:cNvSpPr/>
          <p:nvPr/>
        </p:nvSpPr>
        <p:spPr>
          <a:xfrm>
            <a:off x="3341240" y="5933202"/>
            <a:ext cx="966642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6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1 May - 11am ET  -   </a:t>
            </a:r>
            <a:r>
              <a:rPr lang="en-GB" sz="1600" dirty="0">
                <a:solidFill>
                  <a:schemeClr val="bg1"/>
                </a:solidFill>
              </a:rPr>
              <a:t>Register @  https://</a:t>
            </a:r>
            <a:r>
              <a:rPr lang="en-GB" sz="1600" dirty="0" err="1">
                <a:solidFill>
                  <a:schemeClr val="bg1"/>
                </a:solidFill>
              </a:rPr>
              <a:t>www.mmaglobal.com</a:t>
            </a:r>
            <a:r>
              <a:rPr lang="en-GB" sz="1600" dirty="0">
                <a:solidFill>
                  <a:schemeClr val="bg1"/>
                </a:solidFill>
              </a:rPr>
              <a:t>/webinars</a:t>
            </a:r>
          </a:p>
          <a:p>
            <a:endParaRPr lang="en-GB" sz="1400" u="none" strike="noStrike" dirty="0">
              <a:solidFill>
                <a:schemeClr val="bg1"/>
              </a:solidFill>
              <a:effectLst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544D884-423E-AB43-BFF2-3491DCA4AFC6}"/>
              </a:ext>
            </a:extLst>
          </p:cNvPr>
          <p:cNvCxnSpPr/>
          <p:nvPr/>
        </p:nvCxnSpPr>
        <p:spPr>
          <a:xfrm>
            <a:off x="3086100" y="5235553"/>
            <a:ext cx="0" cy="1096667"/>
          </a:xfrm>
          <a:prstGeom prst="line">
            <a:avLst/>
          </a:prstGeom>
          <a:ln w="28575"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960266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0" name="Group 299">
            <a:extLst>
              <a:ext uri="{FF2B5EF4-FFF2-40B4-BE49-F238E27FC236}">
                <a16:creationId xmlns:a16="http://schemas.microsoft.com/office/drawing/2014/main" id="{410379B3-23DD-4480-BE10-C7B9FBF8B4C2}"/>
              </a:ext>
            </a:extLst>
          </p:cNvPr>
          <p:cNvGrpSpPr/>
          <p:nvPr/>
        </p:nvGrpSpPr>
        <p:grpSpPr>
          <a:xfrm>
            <a:off x="-104503" y="-300446"/>
            <a:ext cx="12316908" cy="7177421"/>
            <a:chOff x="-124908" y="857"/>
            <a:chExt cx="12316908" cy="6856286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BB39E89-B664-47D7-A095-0CB925752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124908" y="857"/>
              <a:ext cx="12316908" cy="6856286"/>
            </a:xfrm>
            <a:prstGeom prst="rect">
              <a:avLst/>
            </a:prstGeom>
          </p:spPr>
        </p:pic>
        <p:grpSp>
          <p:nvGrpSpPr>
            <p:cNvPr id="134" name="Group 133">
              <a:extLst>
                <a:ext uri="{FF2B5EF4-FFF2-40B4-BE49-F238E27FC236}">
                  <a16:creationId xmlns:a16="http://schemas.microsoft.com/office/drawing/2014/main" id="{53546374-C314-44D4-8EDC-6930AFDF160B}"/>
                </a:ext>
              </a:extLst>
            </p:cNvPr>
            <p:cNvGrpSpPr/>
            <p:nvPr/>
          </p:nvGrpSpPr>
          <p:grpSpPr>
            <a:xfrm>
              <a:off x="5410006" y="2706880"/>
              <a:ext cx="486301" cy="650577"/>
              <a:chOff x="5363544" y="2787379"/>
              <a:chExt cx="486301" cy="650577"/>
            </a:xfrm>
          </p:grpSpPr>
          <p:pic>
            <p:nvPicPr>
              <p:cNvPr id="66" name="Picture 65">
                <a:extLst>
                  <a:ext uri="{FF2B5EF4-FFF2-40B4-BE49-F238E27FC236}">
                    <a16:creationId xmlns:a16="http://schemas.microsoft.com/office/drawing/2014/main" id="{2FBB2B5D-F7C3-4FB2-9247-CCA4FED33E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363544" y="2787379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3" name="Picture 112">
                <a:extLst>
                  <a:ext uri="{FF2B5EF4-FFF2-40B4-BE49-F238E27FC236}">
                    <a16:creationId xmlns:a16="http://schemas.microsoft.com/office/drawing/2014/main" id="{C257E41F-90F9-4924-B403-737B6D2C2A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443774" y="286932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0" name="Group 149">
              <a:extLst>
                <a:ext uri="{FF2B5EF4-FFF2-40B4-BE49-F238E27FC236}">
                  <a16:creationId xmlns:a16="http://schemas.microsoft.com/office/drawing/2014/main" id="{07509F34-3BBF-444A-B00C-D57A5968AC3E}"/>
                </a:ext>
              </a:extLst>
            </p:cNvPr>
            <p:cNvGrpSpPr/>
            <p:nvPr/>
          </p:nvGrpSpPr>
          <p:grpSpPr>
            <a:xfrm>
              <a:off x="9180360" y="4214131"/>
              <a:ext cx="486301" cy="650577"/>
              <a:chOff x="9244208" y="4192935"/>
              <a:chExt cx="486301" cy="650577"/>
            </a:xfrm>
          </p:grpSpPr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04E3B17E-5A81-4307-9BA9-26B8BE7DD93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244208" y="4192935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4" name="Picture 113">
                <a:extLst>
                  <a:ext uri="{FF2B5EF4-FFF2-40B4-BE49-F238E27FC236}">
                    <a16:creationId xmlns:a16="http://schemas.microsoft.com/office/drawing/2014/main" id="{089AFB6F-A643-4C5B-8CA5-D5DBB72B4F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324438" y="427368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6" name="Group 145">
              <a:extLst>
                <a:ext uri="{FF2B5EF4-FFF2-40B4-BE49-F238E27FC236}">
                  <a16:creationId xmlns:a16="http://schemas.microsoft.com/office/drawing/2014/main" id="{6019EFF5-3736-4943-9ACF-200C0501E8E4}"/>
                </a:ext>
              </a:extLst>
            </p:cNvPr>
            <p:cNvGrpSpPr/>
            <p:nvPr/>
          </p:nvGrpSpPr>
          <p:grpSpPr>
            <a:xfrm>
              <a:off x="3908192" y="5637683"/>
              <a:ext cx="486301" cy="650577"/>
              <a:chOff x="3908192" y="5637683"/>
              <a:chExt cx="486301" cy="650577"/>
            </a:xfrm>
          </p:grpSpPr>
          <p:pic>
            <p:nvPicPr>
              <p:cNvPr id="53" name="Picture 52">
                <a:extLst>
                  <a:ext uri="{FF2B5EF4-FFF2-40B4-BE49-F238E27FC236}">
                    <a16:creationId xmlns:a16="http://schemas.microsoft.com/office/drawing/2014/main" id="{1ECDB1F7-0E99-4E6D-A621-FBB9C26338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08192" y="5637683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4" name="Picture 103">
                <a:extLst>
                  <a:ext uri="{FF2B5EF4-FFF2-40B4-BE49-F238E27FC236}">
                    <a16:creationId xmlns:a16="http://schemas.microsoft.com/office/drawing/2014/main" id="{39E456AA-418C-4245-8FAA-7D04F971FB6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91539" y="571776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5" name="Group 144">
              <a:extLst>
                <a:ext uri="{FF2B5EF4-FFF2-40B4-BE49-F238E27FC236}">
                  <a16:creationId xmlns:a16="http://schemas.microsoft.com/office/drawing/2014/main" id="{DF79A65D-5506-44D8-BC8B-FF1886098227}"/>
                </a:ext>
              </a:extLst>
            </p:cNvPr>
            <p:cNvGrpSpPr/>
            <p:nvPr/>
          </p:nvGrpSpPr>
          <p:grpSpPr>
            <a:xfrm>
              <a:off x="4284112" y="4808550"/>
              <a:ext cx="486301" cy="650577"/>
              <a:chOff x="4284112" y="4808550"/>
              <a:chExt cx="486301" cy="650577"/>
            </a:xfrm>
          </p:grpSpPr>
          <p:pic>
            <p:nvPicPr>
              <p:cNvPr id="56" name="Picture 55">
                <a:extLst>
                  <a:ext uri="{FF2B5EF4-FFF2-40B4-BE49-F238E27FC236}">
                    <a16:creationId xmlns:a16="http://schemas.microsoft.com/office/drawing/2014/main" id="{87441633-B71E-457C-B782-E91863383E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284112" y="4808550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5" name="Picture 104">
                <a:extLst>
                  <a:ext uri="{FF2B5EF4-FFF2-40B4-BE49-F238E27FC236}">
                    <a16:creationId xmlns:a16="http://schemas.microsoft.com/office/drawing/2014/main" id="{2B0D515F-957E-4808-ADA0-B272D4D116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4366983" y="4887750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1" name="Group 150">
              <a:extLst>
                <a:ext uri="{FF2B5EF4-FFF2-40B4-BE49-F238E27FC236}">
                  <a16:creationId xmlns:a16="http://schemas.microsoft.com/office/drawing/2014/main" id="{A4E7C478-D3F8-4862-AA9A-9F07C4278848}"/>
                </a:ext>
              </a:extLst>
            </p:cNvPr>
            <p:cNvGrpSpPr/>
            <p:nvPr/>
          </p:nvGrpSpPr>
          <p:grpSpPr>
            <a:xfrm>
              <a:off x="9595864" y="3832683"/>
              <a:ext cx="486301" cy="650577"/>
              <a:chOff x="9622790" y="3573891"/>
              <a:chExt cx="486301" cy="650577"/>
            </a:xfrm>
          </p:grpSpPr>
          <p:pic>
            <p:nvPicPr>
              <p:cNvPr id="62" name="Picture 61">
                <a:extLst>
                  <a:ext uri="{FF2B5EF4-FFF2-40B4-BE49-F238E27FC236}">
                    <a16:creationId xmlns:a16="http://schemas.microsoft.com/office/drawing/2014/main" id="{21270C0C-1A9E-4EA6-A865-44D2B07B7B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622790" y="3573891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6" name="Picture 105">
                <a:extLst>
                  <a:ext uri="{FF2B5EF4-FFF2-40B4-BE49-F238E27FC236}">
                    <a16:creationId xmlns:a16="http://schemas.microsoft.com/office/drawing/2014/main" id="{127D608B-392C-4BC0-A4A0-E0DF0AB0B4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9704925" y="3654173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9" name="Group 148">
              <a:extLst>
                <a:ext uri="{FF2B5EF4-FFF2-40B4-BE49-F238E27FC236}">
                  <a16:creationId xmlns:a16="http://schemas.microsoft.com/office/drawing/2014/main" id="{5E30B837-95F4-4CAD-8DB5-99FD9F3DB3FB}"/>
                </a:ext>
              </a:extLst>
            </p:cNvPr>
            <p:cNvGrpSpPr/>
            <p:nvPr/>
          </p:nvGrpSpPr>
          <p:grpSpPr>
            <a:xfrm>
              <a:off x="8017547" y="4078649"/>
              <a:ext cx="486301" cy="650577"/>
              <a:chOff x="8017547" y="4078649"/>
              <a:chExt cx="486301" cy="650577"/>
            </a:xfrm>
          </p:grpSpPr>
          <p:pic>
            <p:nvPicPr>
              <p:cNvPr id="64" name="Picture 63">
                <a:extLst>
                  <a:ext uri="{FF2B5EF4-FFF2-40B4-BE49-F238E27FC236}">
                    <a16:creationId xmlns:a16="http://schemas.microsoft.com/office/drawing/2014/main" id="{85874C7B-F5A1-4C7C-887B-A34F7B64FC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17547" y="4078649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9" name="Picture 108">
                <a:extLst>
                  <a:ext uri="{FF2B5EF4-FFF2-40B4-BE49-F238E27FC236}">
                    <a16:creationId xmlns:a16="http://schemas.microsoft.com/office/drawing/2014/main" id="{2D1E96BC-6588-4B82-A51C-148D943CD5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099422" y="4157972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7" name="Group 146">
              <a:extLst>
                <a:ext uri="{FF2B5EF4-FFF2-40B4-BE49-F238E27FC236}">
                  <a16:creationId xmlns:a16="http://schemas.microsoft.com/office/drawing/2014/main" id="{18FC6696-8B2B-4BD4-AF2C-D16683F203CD}"/>
                </a:ext>
              </a:extLst>
            </p:cNvPr>
            <p:cNvGrpSpPr/>
            <p:nvPr/>
          </p:nvGrpSpPr>
          <p:grpSpPr>
            <a:xfrm>
              <a:off x="6258163" y="5034932"/>
              <a:ext cx="486301" cy="650577"/>
              <a:chOff x="6258163" y="5034932"/>
              <a:chExt cx="486301" cy="650577"/>
            </a:xfrm>
          </p:grpSpPr>
          <p:pic>
            <p:nvPicPr>
              <p:cNvPr id="60" name="Picture 59">
                <a:extLst>
                  <a:ext uri="{FF2B5EF4-FFF2-40B4-BE49-F238E27FC236}">
                    <a16:creationId xmlns:a16="http://schemas.microsoft.com/office/drawing/2014/main" id="{A0E80301-F3EF-4A4F-8EAC-CC418258CF1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258163" y="503493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0" name="Picture 109">
                <a:extLst>
                  <a:ext uri="{FF2B5EF4-FFF2-40B4-BE49-F238E27FC236}">
                    <a16:creationId xmlns:a16="http://schemas.microsoft.com/office/drawing/2014/main" id="{B1F2E764-7827-4C05-AD92-258699A3E5B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338395" y="5114067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2" name="Group 151">
              <a:extLst>
                <a:ext uri="{FF2B5EF4-FFF2-40B4-BE49-F238E27FC236}">
                  <a16:creationId xmlns:a16="http://schemas.microsoft.com/office/drawing/2014/main" id="{B2BF754E-EEB6-4BC1-9455-DCDDCC283080}"/>
                </a:ext>
              </a:extLst>
            </p:cNvPr>
            <p:cNvGrpSpPr/>
            <p:nvPr/>
          </p:nvGrpSpPr>
          <p:grpSpPr>
            <a:xfrm>
              <a:off x="6584695" y="3356984"/>
              <a:ext cx="486301" cy="650577"/>
              <a:chOff x="6584695" y="3356984"/>
              <a:chExt cx="486301" cy="650577"/>
            </a:xfrm>
          </p:grpSpPr>
          <p:pic>
            <p:nvPicPr>
              <p:cNvPr id="65" name="Picture 64">
                <a:extLst>
                  <a:ext uri="{FF2B5EF4-FFF2-40B4-BE49-F238E27FC236}">
                    <a16:creationId xmlns:a16="http://schemas.microsoft.com/office/drawing/2014/main" id="{5229D0C1-CA30-49F4-8AD9-74D3FDB597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84695" y="3356984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1" name="Picture 110">
                <a:extLst>
                  <a:ext uri="{FF2B5EF4-FFF2-40B4-BE49-F238E27FC236}">
                    <a16:creationId xmlns:a16="http://schemas.microsoft.com/office/drawing/2014/main" id="{081E7A84-2BF6-43DB-BDDF-988A88B297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67463" y="3435090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8" name="Group 147">
              <a:extLst>
                <a:ext uri="{FF2B5EF4-FFF2-40B4-BE49-F238E27FC236}">
                  <a16:creationId xmlns:a16="http://schemas.microsoft.com/office/drawing/2014/main" id="{D4E85F7D-37BA-40B3-B077-0F6709226742}"/>
                </a:ext>
              </a:extLst>
            </p:cNvPr>
            <p:cNvGrpSpPr/>
            <p:nvPr/>
          </p:nvGrpSpPr>
          <p:grpSpPr>
            <a:xfrm>
              <a:off x="7296730" y="3832684"/>
              <a:ext cx="486301" cy="650577"/>
              <a:chOff x="7296730" y="3832684"/>
              <a:chExt cx="486301" cy="650577"/>
            </a:xfrm>
          </p:grpSpPr>
          <p:pic>
            <p:nvPicPr>
              <p:cNvPr id="139" name="Picture 138">
                <a:extLst>
                  <a:ext uri="{FF2B5EF4-FFF2-40B4-BE49-F238E27FC236}">
                    <a16:creationId xmlns:a16="http://schemas.microsoft.com/office/drawing/2014/main" id="{FB0B4EC9-4A6F-4B7F-8C9C-C656FBBF9FD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96730" y="3832684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2" name="Picture 111">
                <a:extLst>
                  <a:ext uri="{FF2B5EF4-FFF2-40B4-BE49-F238E27FC236}">
                    <a16:creationId xmlns:a16="http://schemas.microsoft.com/office/drawing/2014/main" id="{FA2651EF-9356-4C32-9730-8BBE17E9992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78552" y="3913233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3" name="Group 142">
              <a:extLst>
                <a:ext uri="{FF2B5EF4-FFF2-40B4-BE49-F238E27FC236}">
                  <a16:creationId xmlns:a16="http://schemas.microsoft.com/office/drawing/2014/main" id="{15DEF1BC-2534-4423-8A8E-D795263E96E4}"/>
                </a:ext>
              </a:extLst>
            </p:cNvPr>
            <p:cNvGrpSpPr/>
            <p:nvPr/>
          </p:nvGrpSpPr>
          <p:grpSpPr>
            <a:xfrm>
              <a:off x="2237799" y="3472655"/>
              <a:ext cx="1490662" cy="1370857"/>
              <a:chOff x="2237799" y="3472655"/>
              <a:chExt cx="1490662" cy="1370857"/>
            </a:xfrm>
          </p:grpSpPr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DECF4D1D-B803-4091-930B-2F37455CBD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237799" y="4192935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7" name="Picture 116">
                <a:extLst>
                  <a:ext uri="{FF2B5EF4-FFF2-40B4-BE49-F238E27FC236}">
                    <a16:creationId xmlns:a16="http://schemas.microsoft.com/office/drawing/2014/main" id="{0E7DBC2A-2A94-4986-AC03-B711AAEFAD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318830" y="4273749"/>
                <a:ext cx="322029" cy="324000"/>
              </a:xfrm>
              <a:prstGeom prst="rect">
                <a:avLst/>
              </a:prstGeom>
            </p:spPr>
          </p:pic>
          <p:pic>
            <p:nvPicPr>
              <p:cNvPr id="100" name="Picture 99">
                <a:extLst>
                  <a:ext uri="{FF2B5EF4-FFF2-40B4-BE49-F238E27FC236}">
                    <a16:creationId xmlns:a16="http://schemas.microsoft.com/office/drawing/2014/main" id="{A3842E80-DC59-7146-9CE5-1935A75651C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242160" y="3472655"/>
                <a:ext cx="486301" cy="650577"/>
              </a:xfrm>
              <a:prstGeom prst="rect">
                <a:avLst/>
              </a:prstGeom>
            </p:spPr>
          </p:pic>
        </p:grpSp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02A1D067-5A0F-4A79-AA36-C9BD813DDCBA}"/>
                </a:ext>
              </a:extLst>
            </p:cNvPr>
            <p:cNvGrpSpPr/>
            <p:nvPr/>
          </p:nvGrpSpPr>
          <p:grpSpPr>
            <a:xfrm>
              <a:off x="5915449" y="2981610"/>
              <a:ext cx="486301" cy="650577"/>
              <a:chOff x="7271821" y="1279316"/>
              <a:chExt cx="486301" cy="650577"/>
            </a:xfrm>
          </p:grpSpPr>
          <p:pic>
            <p:nvPicPr>
              <p:cNvPr id="141" name="Picture 140">
                <a:extLst>
                  <a:ext uri="{FF2B5EF4-FFF2-40B4-BE49-F238E27FC236}">
                    <a16:creationId xmlns:a16="http://schemas.microsoft.com/office/drawing/2014/main" id="{37CE4EAF-DA99-477E-9A4A-7C29085B205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271821" y="1279316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8" name="Picture 107">
                <a:extLst>
                  <a:ext uri="{FF2B5EF4-FFF2-40B4-BE49-F238E27FC236}">
                    <a16:creationId xmlns:a16="http://schemas.microsoft.com/office/drawing/2014/main" id="{5099A4E3-3E1F-46B9-AA7D-ED020D8769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7352051" y="1358561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44" name="Group 143">
              <a:extLst>
                <a:ext uri="{FF2B5EF4-FFF2-40B4-BE49-F238E27FC236}">
                  <a16:creationId xmlns:a16="http://schemas.microsoft.com/office/drawing/2014/main" id="{B5943C12-818B-4651-8978-B47B250E88BA}"/>
                </a:ext>
              </a:extLst>
            </p:cNvPr>
            <p:cNvGrpSpPr/>
            <p:nvPr/>
          </p:nvGrpSpPr>
          <p:grpSpPr>
            <a:xfrm>
              <a:off x="3381251" y="4483262"/>
              <a:ext cx="486301" cy="650577"/>
              <a:chOff x="3381251" y="4483262"/>
              <a:chExt cx="486301" cy="650577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29EDF1F8-6B9D-45E3-B7D5-B0D4104FCA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381251" y="448326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5" name="Picture 114">
                <a:extLst>
                  <a:ext uri="{FF2B5EF4-FFF2-40B4-BE49-F238E27FC236}">
                    <a16:creationId xmlns:a16="http://schemas.microsoft.com/office/drawing/2014/main" id="{F70F5877-B204-4517-AED7-17DD293B97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461346" y="4563416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id="{05AD2A34-C45F-490C-A027-588F2129602E}"/>
                </a:ext>
              </a:extLst>
            </p:cNvPr>
            <p:cNvGrpSpPr/>
            <p:nvPr/>
          </p:nvGrpSpPr>
          <p:grpSpPr>
            <a:xfrm>
              <a:off x="5680385" y="3196275"/>
              <a:ext cx="486301" cy="650577"/>
              <a:chOff x="5658681" y="3248602"/>
              <a:chExt cx="486301" cy="650577"/>
            </a:xfrm>
          </p:grpSpPr>
          <p:pic>
            <p:nvPicPr>
              <p:cNvPr id="67" name="Picture 66">
                <a:extLst>
                  <a:ext uri="{FF2B5EF4-FFF2-40B4-BE49-F238E27FC236}">
                    <a16:creationId xmlns:a16="http://schemas.microsoft.com/office/drawing/2014/main" id="{F90339D9-59A5-4678-810A-CC4CBA1284C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658681" y="3248602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07" name="Picture 106">
                <a:extLst>
                  <a:ext uri="{FF2B5EF4-FFF2-40B4-BE49-F238E27FC236}">
                    <a16:creationId xmlns:a16="http://schemas.microsoft.com/office/drawing/2014/main" id="{01799036-CD58-4010-8655-B2601FEB07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738911" y="3328324"/>
                <a:ext cx="322029" cy="324000"/>
              </a:xfrm>
              <a:prstGeom prst="rect">
                <a:avLst/>
              </a:prstGeom>
            </p:spPr>
          </p:pic>
        </p:grpSp>
        <p:grpSp>
          <p:nvGrpSpPr>
            <p:cNvPr id="154" name="Group 153">
              <a:extLst>
                <a:ext uri="{FF2B5EF4-FFF2-40B4-BE49-F238E27FC236}">
                  <a16:creationId xmlns:a16="http://schemas.microsoft.com/office/drawing/2014/main" id="{CF896E1A-0971-4049-A271-37CE17FC824E}"/>
                </a:ext>
              </a:extLst>
            </p:cNvPr>
            <p:cNvGrpSpPr/>
            <p:nvPr/>
          </p:nvGrpSpPr>
          <p:grpSpPr>
            <a:xfrm>
              <a:off x="5359767" y="3432757"/>
              <a:ext cx="486301" cy="650577"/>
              <a:chOff x="6584694" y="1279316"/>
              <a:chExt cx="486301" cy="650577"/>
            </a:xfrm>
          </p:grpSpPr>
          <p:pic>
            <p:nvPicPr>
              <p:cNvPr id="140" name="Picture 139">
                <a:extLst>
                  <a:ext uri="{FF2B5EF4-FFF2-40B4-BE49-F238E27FC236}">
                    <a16:creationId xmlns:a16="http://schemas.microsoft.com/office/drawing/2014/main" id="{CAB6D971-49E3-479F-852A-4BED1027652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584694" y="1279316"/>
                <a:ext cx="486301" cy="650577"/>
              </a:xfrm>
              <a:prstGeom prst="rect">
                <a:avLst/>
              </a:prstGeom>
            </p:spPr>
          </p:pic>
          <p:pic>
            <p:nvPicPr>
              <p:cNvPr id="116" name="Picture 115">
                <a:extLst>
                  <a:ext uri="{FF2B5EF4-FFF2-40B4-BE49-F238E27FC236}">
                    <a16:creationId xmlns:a16="http://schemas.microsoft.com/office/drawing/2014/main" id="{46368849-510C-4DAD-8E6A-DB9F8DCFB46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665755" y="1360466"/>
                <a:ext cx="322029" cy="324000"/>
              </a:xfrm>
              <a:prstGeom prst="rect">
                <a:avLst/>
              </a:prstGeom>
            </p:spPr>
          </p:pic>
        </p:grp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87916" y="503217"/>
            <a:ext cx="10242089" cy="495810"/>
          </a:xfrm>
        </p:spPr>
        <p:txBody>
          <a:bodyPr anchor="ctr">
            <a:noAutofit/>
          </a:bodyPr>
          <a:lstStyle/>
          <a:p>
            <a:r>
              <a:rPr lang="en-US" sz="3200" dirty="0"/>
              <a:t>MMA is the Global Industry Association for Marketing</a:t>
            </a:r>
            <a:endParaRPr lang="en-US" sz="3200" b="0" dirty="0">
              <a:solidFill>
                <a:srgbClr val="0072BA"/>
              </a:solidFill>
              <a:latin typeface="+mn-lt"/>
              <a:cs typeface="Gotham Bold" pitchFamily="50" charset="0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588DE645-5C2C-451F-A6F5-4FC34C714720}"/>
              </a:ext>
            </a:extLst>
          </p:cNvPr>
          <p:cNvGrpSpPr/>
          <p:nvPr/>
        </p:nvGrpSpPr>
        <p:grpSpPr>
          <a:xfrm rot="5400000">
            <a:off x="279837" y="481606"/>
            <a:ext cx="607465" cy="472392"/>
            <a:chOff x="1748589" y="1140618"/>
            <a:chExt cx="1233488" cy="959216"/>
          </a:xfrm>
        </p:grpSpPr>
        <p:sp>
          <p:nvSpPr>
            <p:cNvPr id="33" name="Rectangle: Rounded Corners 32">
              <a:extLst>
                <a:ext uri="{FF2B5EF4-FFF2-40B4-BE49-F238E27FC236}">
                  <a16:creationId xmlns:a16="http://schemas.microsoft.com/office/drawing/2014/main" id="{33710A3B-8B79-4016-B580-F1AAE2380338}"/>
                </a:ext>
              </a:extLst>
            </p:cNvPr>
            <p:cNvSpPr/>
            <p:nvPr userDrawn="1"/>
          </p:nvSpPr>
          <p:spPr>
            <a:xfrm>
              <a:off x="1748589" y="1140618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F370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4" name="Rectangle: Rounded Corners 33">
              <a:extLst>
                <a:ext uri="{FF2B5EF4-FFF2-40B4-BE49-F238E27FC236}">
                  <a16:creationId xmlns:a16="http://schemas.microsoft.com/office/drawing/2014/main" id="{B2B83E00-47B2-4E8B-A755-4F8D3A5FA014}"/>
                </a:ext>
              </a:extLst>
            </p:cNvPr>
            <p:cNvSpPr/>
            <p:nvPr userDrawn="1"/>
          </p:nvSpPr>
          <p:spPr>
            <a:xfrm>
              <a:off x="1748589" y="1516642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  <p:sp>
          <p:nvSpPr>
            <p:cNvPr id="35" name="Rectangle: Rounded Corners 34">
              <a:extLst>
                <a:ext uri="{FF2B5EF4-FFF2-40B4-BE49-F238E27FC236}">
                  <a16:creationId xmlns:a16="http://schemas.microsoft.com/office/drawing/2014/main" id="{17619BA6-D01D-4CDF-9626-6EF453B032BA}"/>
                </a:ext>
              </a:extLst>
            </p:cNvPr>
            <p:cNvSpPr/>
            <p:nvPr userDrawn="1"/>
          </p:nvSpPr>
          <p:spPr>
            <a:xfrm>
              <a:off x="1748589" y="1892666"/>
              <a:ext cx="1233488" cy="207168"/>
            </a:xfrm>
            <a:prstGeom prst="roundRect">
              <a:avLst>
                <a:gd name="adj" fmla="val 50000"/>
              </a:avLst>
            </a:prstGeom>
            <a:solidFill>
              <a:srgbClr val="0070B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  <p:pic>
        <p:nvPicPr>
          <p:cNvPr id="36" name="Picture 35">
            <a:extLst>
              <a:ext uri="{FF2B5EF4-FFF2-40B4-BE49-F238E27FC236}">
                <a16:creationId xmlns:a16="http://schemas.microsoft.com/office/drawing/2014/main" id="{882D30E3-D5F0-4421-A723-5F9EB346E3FE}"/>
              </a:ext>
            </a:extLst>
          </p:cNvPr>
          <p:cNvPicPr>
            <a:picLocks noChangeAspect="1"/>
          </p:cNvPicPr>
          <p:nvPr/>
        </p:nvPicPr>
        <p:blipFill>
          <a:blip r:embed="rId19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07504" y="6228307"/>
            <a:ext cx="1466491" cy="446456"/>
          </a:xfrm>
          <a:prstGeom prst="rect">
            <a:avLst/>
          </a:prstGeom>
        </p:spPr>
      </p:pic>
      <p:grpSp>
        <p:nvGrpSpPr>
          <p:cNvPr id="231" name="Group 230">
            <a:extLst>
              <a:ext uri="{FF2B5EF4-FFF2-40B4-BE49-F238E27FC236}">
                <a16:creationId xmlns:a16="http://schemas.microsoft.com/office/drawing/2014/main" id="{18EE5E96-CFB4-4DB7-BA9E-E534F7BCE52D}"/>
              </a:ext>
            </a:extLst>
          </p:cNvPr>
          <p:cNvGrpSpPr/>
          <p:nvPr/>
        </p:nvGrpSpPr>
        <p:grpSpPr>
          <a:xfrm>
            <a:off x="7877379" y="2526888"/>
            <a:ext cx="2728032" cy="937384"/>
            <a:chOff x="242996" y="1174440"/>
            <a:chExt cx="2728032" cy="937384"/>
          </a:xfrm>
        </p:grpSpPr>
        <p:sp>
          <p:nvSpPr>
            <p:cNvPr id="204" name="Rectangle 203">
              <a:extLst>
                <a:ext uri="{FF2B5EF4-FFF2-40B4-BE49-F238E27FC236}">
                  <a16:creationId xmlns:a16="http://schemas.microsoft.com/office/drawing/2014/main" id="{F2229CEA-5724-4064-9818-FEE9ADACBC12}"/>
                </a:ext>
              </a:extLst>
            </p:cNvPr>
            <p:cNvSpPr/>
            <p:nvPr/>
          </p:nvSpPr>
          <p:spPr>
            <a:xfrm>
              <a:off x="1109493" y="1292535"/>
              <a:ext cx="1861535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CHRIS BABAYODE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chris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EMEA</a:t>
              </a:r>
            </a:p>
          </p:txBody>
        </p:sp>
        <p:grpSp>
          <p:nvGrpSpPr>
            <p:cNvPr id="216" name="Group 215">
              <a:extLst>
                <a:ext uri="{FF2B5EF4-FFF2-40B4-BE49-F238E27FC236}">
                  <a16:creationId xmlns:a16="http://schemas.microsoft.com/office/drawing/2014/main" id="{8221E115-FCAD-4576-9260-329EA62B0842}"/>
                </a:ext>
              </a:extLst>
            </p:cNvPr>
            <p:cNvGrpSpPr/>
            <p:nvPr/>
          </p:nvGrpSpPr>
          <p:grpSpPr>
            <a:xfrm>
              <a:off x="242996" y="1174440"/>
              <a:ext cx="937384" cy="937384"/>
              <a:chOff x="-2054410" y="1434823"/>
              <a:chExt cx="937384" cy="937384"/>
            </a:xfrm>
          </p:grpSpPr>
          <p:sp>
            <p:nvSpPr>
              <p:cNvPr id="211" name="Oval 210">
                <a:extLst>
                  <a:ext uri="{FF2B5EF4-FFF2-40B4-BE49-F238E27FC236}">
                    <a16:creationId xmlns:a16="http://schemas.microsoft.com/office/drawing/2014/main" id="{9161D77E-C4B9-48AC-8351-72E41B5F40EC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908183" y="1602915"/>
                <a:ext cx="601200" cy="601200"/>
              </a:xfrm>
              <a:prstGeom prst="ellipse">
                <a:avLst/>
              </a:prstGeom>
              <a:blipFill>
                <a:blip r:embed="rId20" cstate="email">
                  <a:extLst>
                    <a:ext uri="{BEBA8EAE-BF5A-486C-A8C5-ECC9F3942E4B}">
                      <a14:imgProps xmlns:a14="http://schemas.microsoft.com/office/drawing/2010/main">
                        <a14:imgLayer r:embed="rId21">
                          <a14:imgEffect>
                            <a14:colorTemperature colorTemp="7200"/>
                          </a14:imgEffect>
                        </a14:imgLayer>
                      </a14:imgProps>
                    </a:ex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194" name="Picture 193">
                <a:extLst>
                  <a:ext uri="{FF2B5EF4-FFF2-40B4-BE49-F238E27FC236}">
                    <a16:creationId xmlns:a16="http://schemas.microsoft.com/office/drawing/2014/main" id="{D4C3F69E-69BA-4385-AF1D-99DACAA34B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2054410" y="143482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230" name="Group 229">
            <a:extLst>
              <a:ext uri="{FF2B5EF4-FFF2-40B4-BE49-F238E27FC236}">
                <a16:creationId xmlns:a16="http://schemas.microsoft.com/office/drawing/2014/main" id="{81685050-A364-43C3-BDE0-FF43156684D7}"/>
              </a:ext>
            </a:extLst>
          </p:cNvPr>
          <p:cNvGrpSpPr/>
          <p:nvPr/>
        </p:nvGrpSpPr>
        <p:grpSpPr>
          <a:xfrm>
            <a:off x="8176030" y="5530235"/>
            <a:ext cx="3309858" cy="937384"/>
            <a:chOff x="3101551" y="1174440"/>
            <a:chExt cx="3309858" cy="937384"/>
          </a:xfrm>
        </p:grpSpPr>
        <p:sp>
          <p:nvSpPr>
            <p:cNvPr id="219" name="Rectangle 218">
              <a:extLst>
                <a:ext uri="{FF2B5EF4-FFF2-40B4-BE49-F238E27FC236}">
                  <a16:creationId xmlns:a16="http://schemas.microsoft.com/office/drawing/2014/main" id="{B9F1EBD4-DC69-4FA1-BE85-B4FC5DF9F4F2}"/>
                </a:ext>
              </a:extLst>
            </p:cNvPr>
            <p:cNvSpPr/>
            <p:nvPr/>
          </p:nvSpPr>
          <p:spPr>
            <a:xfrm>
              <a:off x="3968048" y="1292535"/>
              <a:ext cx="2443361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ROHIT DADWAL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rohit.dadwal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APAC</a:t>
              </a:r>
            </a:p>
          </p:txBody>
        </p:sp>
        <p:grpSp>
          <p:nvGrpSpPr>
            <p:cNvPr id="217" name="Group 216">
              <a:extLst>
                <a:ext uri="{FF2B5EF4-FFF2-40B4-BE49-F238E27FC236}">
                  <a16:creationId xmlns:a16="http://schemas.microsoft.com/office/drawing/2014/main" id="{4AC445FD-048C-4227-9937-FCA60EAFD8BA}"/>
                </a:ext>
              </a:extLst>
            </p:cNvPr>
            <p:cNvGrpSpPr/>
            <p:nvPr/>
          </p:nvGrpSpPr>
          <p:grpSpPr>
            <a:xfrm>
              <a:off x="3101551" y="1174440"/>
              <a:ext cx="937384" cy="937384"/>
              <a:chOff x="-1498292" y="2291563"/>
              <a:chExt cx="937384" cy="937384"/>
            </a:xfrm>
          </p:grpSpPr>
          <p:sp>
            <p:nvSpPr>
              <p:cNvPr id="212" name="Oval 211">
                <a:extLst>
                  <a:ext uri="{FF2B5EF4-FFF2-40B4-BE49-F238E27FC236}">
                    <a16:creationId xmlns:a16="http://schemas.microsoft.com/office/drawing/2014/main" id="{7B0D0A7E-9212-4A0E-B160-A3AA705FE99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347773" y="2441128"/>
                <a:ext cx="601200" cy="601200"/>
              </a:xfrm>
              <a:prstGeom prst="ellipse">
                <a:avLst/>
              </a:prstGeom>
              <a:blipFill>
                <a:blip r:embed="rId2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214" name="Picture 213">
                <a:extLst>
                  <a:ext uri="{FF2B5EF4-FFF2-40B4-BE49-F238E27FC236}">
                    <a16:creationId xmlns:a16="http://schemas.microsoft.com/office/drawing/2014/main" id="{FF33B6B8-F4FC-429C-A767-653863DCC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98292" y="229156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229" name="Group 228">
            <a:extLst>
              <a:ext uri="{FF2B5EF4-FFF2-40B4-BE49-F238E27FC236}">
                <a16:creationId xmlns:a16="http://schemas.microsoft.com/office/drawing/2014/main" id="{3DF145E6-78AD-47DE-83AB-E5875EDE5AA8}"/>
              </a:ext>
            </a:extLst>
          </p:cNvPr>
          <p:cNvGrpSpPr/>
          <p:nvPr/>
        </p:nvGrpSpPr>
        <p:grpSpPr>
          <a:xfrm>
            <a:off x="178561" y="5941948"/>
            <a:ext cx="3303190" cy="937384"/>
            <a:chOff x="5960106" y="1174440"/>
            <a:chExt cx="3303190" cy="937384"/>
          </a:xfrm>
        </p:grpSpPr>
        <p:sp>
          <p:nvSpPr>
            <p:cNvPr id="223" name="Rectangle 222">
              <a:extLst>
                <a:ext uri="{FF2B5EF4-FFF2-40B4-BE49-F238E27FC236}">
                  <a16:creationId xmlns:a16="http://schemas.microsoft.com/office/drawing/2014/main" id="{8E24E490-44B1-4E96-A36B-353FF036801B}"/>
                </a:ext>
              </a:extLst>
            </p:cNvPr>
            <p:cNvSpPr/>
            <p:nvPr/>
          </p:nvSpPr>
          <p:spPr>
            <a:xfrm>
              <a:off x="6826603" y="1292535"/>
              <a:ext cx="2436693" cy="73866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400" b="1" dirty="0">
                  <a:solidFill>
                    <a:srgbClr val="F37021"/>
                  </a:solidFill>
                  <a:cs typeface="Gotham Bold" pitchFamily="50" charset="0"/>
                </a:rPr>
                <a:t>FABIANO LOBO</a:t>
              </a:r>
            </a:p>
            <a:p>
              <a:pPr lvl="0">
                <a:defRPr/>
              </a:pPr>
              <a:r>
                <a:rPr lang="en-US" sz="1400" dirty="0">
                  <a:solidFill>
                    <a:schemeClr val="tx1">
                      <a:lumMod val="75000"/>
                    </a:schemeClr>
                  </a:solidFill>
                  <a:cs typeface="Gotham-BookItalic" pitchFamily="50" charset="0"/>
                </a:rPr>
                <a:t>fabiano.lobo@mmaglobal.com</a:t>
              </a:r>
            </a:p>
            <a:p>
              <a:pPr lvl="0">
                <a:defRPr/>
              </a:pPr>
              <a:r>
                <a:rPr lang="en-US" sz="1400" dirty="0">
                  <a:solidFill>
                    <a:srgbClr val="0072BA"/>
                  </a:solidFill>
                  <a:cs typeface="Gotham-BookItalic" pitchFamily="50" charset="0"/>
                </a:rPr>
                <a:t>LATAM</a:t>
              </a:r>
            </a:p>
          </p:txBody>
        </p:sp>
        <p:grpSp>
          <p:nvGrpSpPr>
            <p:cNvPr id="218" name="Group 217">
              <a:extLst>
                <a:ext uri="{FF2B5EF4-FFF2-40B4-BE49-F238E27FC236}">
                  <a16:creationId xmlns:a16="http://schemas.microsoft.com/office/drawing/2014/main" id="{7B1DC8D3-F581-484F-BA40-944997134170}"/>
                </a:ext>
              </a:extLst>
            </p:cNvPr>
            <p:cNvGrpSpPr/>
            <p:nvPr/>
          </p:nvGrpSpPr>
          <p:grpSpPr>
            <a:xfrm>
              <a:off x="5960106" y="1174440"/>
              <a:ext cx="937384" cy="937384"/>
              <a:chOff x="-1498292" y="3403843"/>
              <a:chExt cx="937384" cy="937384"/>
            </a:xfrm>
          </p:grpSpPr>
          <p:sp>
            <p:nvSpPr>
              <p:cNvPr id="213" name="Oval 212">
                <a:extLst>
                  <a:ext uri="{FF2B5EF4-FFF2-40B4-BE49-F238E27FC236}">
                    <a16:creationId xmlns:a16="http://schemas.microsoft.com/office/drawing/2014/main" id="{7E6629C3-1A2E-4A60-9CED-A938357C18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-1347773" y="3554511"/>
                <a:ext cx="601200" cy="601200"/>
              </a:xfrm>
              <a:prstGeom prst="ellipse">
                <a:avLst/>
              </a:prstGeom>
              <a:blipFill>
                <a:blip r:embed="rId24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400"/>
              </a:p>
            </p:txBody>
          </p:sp>
          <p:pic>
            <p:nvPicPr>
              <p:cNvPr id="215" name="Picture 214">
                <a:extLst>
                  <a:ext uri="{FF2B5EF4-FFF2-40B4-BE49-F238E27FC236}">
                    <a16:creationId xmlns:a16="http://schemas.microsoft.com/office/drawing/2014/main" id="{40EA1B45-6B08-43E4-B0E6-942CFE148D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-1498292" y="3403843"/>
                <a:ext cx="937384" cy="937384"/>
              </a:xfrm>
              <a:prstGeom prst="rect">
                <a:avLst/>
              </a:prstGeom>
            </p:spPr>
          </p:pic>
        </p:grp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74AC0C07-D2FC-4189-B320-59F219462B92}"/>
              </a:ext>
            </a:extLst>
          </p:cNvPr>
          <p:cNvGrpSpPr/>
          <p:nvPr/>
        </p:nvGrpSpPr>
        <p:grpSpPr>
          <a:xfrm>
            <a:off x="218243" y="2953692"/>
            <a:ext cx="1649653" cy="2995599"/>
            <a:chOff x="-4277523" y="-1036049"/>
            <a:chExt cx="1649653" cy="2995599"/>
          </a:xfrm>
        </p:grpSpPr>
        <p:sp>
          <p:nvSpPr>
            <p:cNvPr id="233" name="Rectangle 232">
              <a:extLst>
                <a:ext uri="{FF2B5EF4-FFF2-40B4-BE49-F238E27FC236}">
                  <a16:creationId xmlns:a16="http://schemas.microsoft.com/office/drawing/2014/main" id="{858669A8-7C8F-4535-81C4-FFD09DE195A5}"/>
                </a:ext>
              </a:extLst>
            </p:cNvPr>
            <p:cNvSpPr/>
            <p:nvPr/>
          </p:nvSpPr>
          <p:spPr>
            <a:xfrm>
              <a:off x="-4277523" y="-1036049"/>
              <a:ext cx="685509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EMEA</a:t>
              </a:r>
            </a:p>
          </p:txBody>
        </p:sp>
        <p:pic>
          <p:nvPicPr>
            <p:cNvPr id="124" name="Picture 123">
              <a:extLst>
                <a:ext uri="{FF2B5EF4-FFF2-40B4-BE49-F238E27FC236}">
                  <a16:creationId xmlns:a16="http://schemas.microsoft.com/office/drawing/2014/main" id="{F5669D3A-3A85-437A-A44E-E68D2B6A70EC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-712378"/>
              <a:ext cx="322029" cy="324000"/>
            </a:xfrm>
            <a:prstGeom prst="rect">
              <a:avLst/>
            </a:prstGeom>
          </p:spPr>
        </p:pic>
        <p:sp>
          <p:nvSpPr>
            <p:cNvPr id="237" name="Rectangle 236">
              <a:extLst>
                <a:ext uri="{FF2B5EF4-FFF2-40B4-BE49-F238E27FC236}">
                  <a16:creationId xmlns:a16="http://schemas.microsoft.com/office/drawing/2014/main" id="{5E6AF224-B317-46E6-91E4-187C35D98746}"/>
                </a:ext>
              </a:extLst>
            </p:cNvPr>
            <p:cNvSpPr/>
            <p:nvPr/>
          </p:nvSpPr>
          <p:spPr>
            <a:xfrm>
              <a:off x="-3805838" y="-674330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France</a:t>
              </a:r>
            </a:p>
          </p:txBody>
        </p:sp>
        <p:sp>
          <p:nvSpPr>
            <p:cNvPr id="241" name="Rectangle 240">
              <a:extLst>
                <a:ext uri="{FF2B5EF4-FFF2-40B4-BE49-F238E27FC236}">
                  <a16:creationId xmlns:a16="http://schemas.microsoft.com/office/drawing/2014/main" id="{D735F586-C7A2-4955-940F-D9B555573969}"/>
                </a:ext>
              </a:extLst>
            </p:cNvPr>
            <p:cNvSpPr/>
            <p:nvPr/>
          </p:nvSpPr>
          <p:spPr>
            <a:xfrm>
              <a:off x="-3805838" y="-283009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Germany</a:t>
              </a:r>
            </a:p>
          </p:txBody>
        </p:sp>
        <p:sp>
          <p:nvSpPr>
            <p:cNvPr id="244" name="Rectangle 243">
              <a:extLst>
                <a:ext uri="{FF2B5EF4-FFF2-40B4-BE49-F238E27FC236}">
                  <a16:creationId xmlns:a16="http://schemas.microsoft.com/office/drawing/2014/main" id="{A2B378C4-23C5-4A61-B833-185DE2815749}"/>
                </a:ext>
              </a:extLst>
            </p:cNvPr>
            <p:cNvSpPr/>
            <p:nvPr/>
          </p:nvSpPr>
          <p:spPr>
            <a:xfrm>
              <a:off x="-3805838" y="108312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Middle East</a:t>
              </a:r>
            </a:p>
          </p:txBody>
        </p:sp>
        <p:sp>
          <p:nvSpPr>
            <p:cNvPr id="247" name="Rectangle 246">
              <a:extLst>
                <a:ext uri="{FF2B5EF4-FFF2-40B4-BE49-F238E27FC236}">
                  <a16:creationId xmlns:a16="http://schemas.microsoft.com/office/drawing/2014/main" id="{6351CA5A-008A-49B8-9646-87172EAF7586}"/>
                </a:ext>
              </a:extLst>
            </p:cNvPr>
            <p:cNvSpPr/>
            <p:nvPr/>
          </p:nvSpPr>
          <p:spPr>
            <a:xfrm>
              <a:off x="-3805838" y="499633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South Africa</a:t>
              </a:r>
            </a:p>
          </p:txBody>
        </p:sp>
        <p:sp>
          <p:nvSpPr>
            <p:cNvPr id="250" name="Rectangle 249">
              <a:extLst>
                <a:ext uri="{FF2B5EF4-FFF2-40B4-BE49-F238E27FC236}">
                  <a16:creationId xmlns:a16="http://schemas.microsoft.com/office/drawing/2014/main" id="{F7DCB40E-28B5-4D2B-98B8-6B26078D804B}"/>
                </a:ext>
              </a:extLst>
            </p:cNvPr>
            <p:cNvSpPr/>
            <p:nvPr/>
          </p:nvSpPr>
          <p:spPr>
            <a:xfrm>
              <a:off x="-3805838" y="890954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Spain</a:t>
              </a:r>
            </a:p>
          </p:txBody>
        </p:sp>
        <p:sp>
          <p:nvSpPr>
            <p:cNvPr id="253" name="Rectangle 252">
              <a:extLst>
                <a:ext uri="{FF2B5EF4-FFF2-40B4-BE49-F238E27FC236}">
                  <a16:creationId xmlns:a16="http://schemas.microsoft.com/office/drawing/2014/main" id="{3BB4EA0C-74D5-4A46-B390-7F5ED5B2AB77}"/>
                </a:ext>
              </a:extLst>
            </p:cNvPr>
            <p:cNvSpPr/>
            <p:nvPr/>
          </p:nvSpPr>
          <p:spPr>
            <a:xfrm>
              <a:off x="-3805838" y="1282275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Turkey</a:t>
              </a:r>
            </a:p>
          </p:txBody>
        </p:sp>
        <p:sp>
          <p:nvSpPr>
            <p:cNvPr id="256" name="Rectangle 255">
              <a:extLst>
                <a:ext uri="{FF2B5EF4-FFF2-40B4-BE49-F238E27FC236}">
                  <a16:creationId xmlns:a16="http://schemas.microsoft.com/office/drawing/2014/main" id="{30162789-159B-4961-871E-98B3302297D6}"/>
                </a:ext>
              </a:extLst>
            </p:cNvPr>
            <p:cNvSpPr/>
            <p:nvPr/>
          </p:nvSpPr>
          <p:spPr>
            <a:xfrm>
              <a:off x="-3805838" y="1673598"/>
              <a:ext cx="1177968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United Kingdom</a:t>
              </a:r>
            </a:p>
          </p:txBody>
        </p:sp>
        <p:pic>
          <p:nvPicPr>
            <p:cNvPr id="125" name="Picture 124">
              <a:extLst>
                <a:ext uri="{FF2B5EF4-FFF2-40B4-BE49-F238E27FC236}">
                  <a16:creationId xmlns:a16="http://schemas.microsoft.com/office/drawing/2014/main" id="{07ACE510-9302-4DB2-9EEA-6EEEC9B8F48E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-321057"/>
              <a:ext cx="322029" cy="324000"/>
            </a:xfrm>
            <a:prstGeom prst="rect">
              <a:avLst/>
            </a:prstGeom>
          </p:spPr>
        </p:pic>
        <p:pic>
          <p:nvPicPr>
            <p:cNvPr id="127" name="Picture 126">
              <a:extLst>
                <a:ext uri="{FF2B5EF4-FFF2-40B4-BE49-F238E27FC236}">
                  <a16:creationId xmlns:a16="http://schemas.microsoft.com/office/drawing/2014/main" id="{A1838218-5531-4B30-8468-CBD3424758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461585"/>
              <a:ext cx="322029" cy="324000"/>
            </a:xfrm>
            <a:prstGeom prst="rect">
              <a:avLst/>
            </a:prstGeom>
          </p:spPr>
        </p:pic>
        <p:pic>
          <p:nvPicPr>
            <p:cNvPr id="128" name="Picture 127">
              <a:extLst>
                <a:ext uri="{FF2B5EF4-FFF2-40B4-BE49-F238E27FC236}">
                  <a16:creationId xmlns:a16="http://schemas.microsoft.com/office/drawing/2014/main" id="{DFAEF5DC-7272-4E68-8765-B535B2473C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1244227"/>
              <a:ext cx="322029" cy="324000"/>
            </a:xfrm>
            <a:prstGeom prst="rect">
              <a:avLst/>
            </a:prstGeom>
          </p:spPr>
        </p:pic>
        <p:pic>
          <p:nvPicPr>
            <p:cNvPr id="129" name="Picture 128">
              <a:extLst>
                <a:ext uri="{FF2B5EF4-FFF2-40B4-BE49-F238E27FC236}">
                  <a16:creationId xmlns:a16="http://schemas.microsoft.com/office/drawing/2014/main" id="{EF5FF066-A3C9-4471-B58F-B773D39842C8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70264"/>
              <a:ext cx="322029" cy="324000"/>
            </a:xfrm>
            <a:prstGeom prst="rect">
              <a:avLst/>
            </a:prstGeom>
          </p:spPr>
        </p:pic>
        <p:pic>
          <p:nvPicPr>
            <p:cNvPr id="132" name="Picture 131">
              <a:extLst>
                <a:ext uri="{FF2B5EF4-FFF2-40B4-BE49-F238E27FC236}">
                  <a16:creationId xmlns:a16="http://schemas.microsoft.com/office/drawing/2014/main" id="{DD8BA046-2548-450D-B74D-6E537030C2A5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852906"/>
              <a:ext cx="322029" cy="324000"/>
            </a:xfrm>
            <a:prstGeom prst="rect">
              <a:avLst/>
            </a:prstGeom>
          </p:spPr>
        </p:pic>
        <p:pic>
          <p:nvPicPr>
            <p:cNvPr id="120" name="Picture 119">
              <a:extLst>
                <a:ext uri="{FF2B5EF4-FFF2-40B4-BE49-F238E27FC236}">
                  <a16:creationId xmlns:a16="http://schemas.microsoft.com/office/drawing/2014/main" id="{28FCEBE1-1FF7-4266-B58C-193A8882B7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-4198571" y="1635550"/>
              <a:ext cx="322029" cy="32400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F6A0BA78-CA95-4890-8985-FFDA0939D7C7}"/>
              </a:ext>
            </a:extLst>
          </p:cNvPr>
          <p:cNvGrpSpPr/>
          <p:nvPr/>
        </p:nvGrpSpPr>
        <p:grpSpPr>
          <a:xfrm>
            <a:off x="10516299" y="2553992"/>
            <a:ext cx="1390722" cy="3365945"/>
            <a:chOff x="10459854" y="2553992"/>
            <a:chExt cx="1390722" cy="3365945"/>
          </a:xfrm>
        </p:grpSpPr>
        <p:sp>
          <p:nvSpPr>
            <p:cNvPr id="259" name="Rectangle 258">
              <a:extLst>
                <a:ext uri="{FF2B5EF4-FFF2-40B4-BE49-F238E27FC236}">
                  <a16:creationId xmlns:a16="http://schemas.microsoft.com/office/drawing/2014/main" id="{21DE254C-EBEE-4E5E-94CF-40FFF2871F32}"/>
                </a:ext>
              </a:extLst>
            </p:cNvPr>
            <p:cNvSpPr/>
            <p:nvPr/>
          </p:nvSpPr>
          <p:spPr>
            <a:xfrm>
              <a:off x="10459854" y="2553992"/>
              <a:ext cx="769634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LATAM</a:t>
              </a:r>
            </a:p>
          </p:txBody>
        </p:sp>
        <p:sp>
          <p:nvSpPr>
            <p:cNvPr id="262" name="Rectangle 261">
              <a:extLst>
                <a:ext uri="{FF2B5EF4-FFF2-40B4-BE49-F238E27FC236}">
                  <a16:creationId xmlns:a16="http://schemas.microsoft.com/office/drawing/2014/main" id="{1FE2A465-AF2C-4F1C-8078-05FC5BB09C9B}"/>
                </a:ext>
              </a:extLst>
            </p:cNvPr>
            <p:cNvSpPr/>
            <p:nvPr/>
          </p:nvSpPr>
          <p:spPr>
            <a:xfrm>
              <a:off x="10941699" y="2915711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Mexico</a:t>
              </a:r>
            </a:p>
          </p:txBody>
        </p:sp>
        <p:sp>
          <p:nvSpPr>
            <p:cNvPr id="265" name="Rectangle 264">
              <a:extLst>
                <a:ext uri="{FF2B5EF4-FFF2-40B4-BE49-F238E27FC236}">
                  <a16:creationId xmlns:a16="http://schemas.microsoft.com/office/drawing/2014/main" id="{8E8932C0-92D3-49CC-AE01-E15D691929BE}"/>
                </a:ext>
              </a:extLst>
            </p:cNvPr>
            <p:cNvSpPr/>
            <p:nvPr/>
          </p:nvSpPr>
          <p:spPr>
            <a:xfrm>
              <a:off x="10941699" y="3307032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Brazil</a:t>
              </a:r>
            </a:p>
          </p:txBody>
        </p:sp>
        <p:sp>
          <p:nvSpPr>
            <p:cNvPr id="268" name="Rectangle 267">
              <a:extLst>
                <a:ext uri="{FF2B5EF4-FFF2-40B4-BE49-F238E27FC236}">
                  <a16:creationId xmlns:a16="http://schemas.microsoft.com/office/drawing/2014/main" id="{2D81C2E3-1B8F-437C-B57B-797D490086FF}"/>
                </a:ext>
              </a:extLst>
            </p:cNvPr>
            <p:cNvSpPr/>
            <p:nvPr/>
          </p:nvSpPr>
          <p:spPr>
            <a:xfrm>
              <a:off x="10941699" y="3698353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Colombia</a:t>
              </a:r>
            </a:p>
          </p:txBody>
        </p:sp>
        <p:sp>
          <p:nvSpPr>
            <p:cNvPr id="271" name="Rectangle 270">
              <a:extLst>
                <a:ext uri="{FF2B5EF4-FFF2-40B4-BE49-F238E27FC236}">
                  <a16:creationId xmlns:a16="http://schemas.microsoft.com/office/drawing/2014/main" id="{3349EF04-1608-449C-9327-2257F698695D}"/>
                </a:ext>
              </a:extLst>
            </p:cNvPr>
            <p:cNvSpPr/>
            <p:nvPr/>
          </p:nvSpPr>
          <p:spPr>
            <a:xfrm>
              <a:off x="10941699" y="4089674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Argentina</a:t>
              </a:r>
            </a:p>
          </p:txBody>
        </p:sp>
        <p:sp>
          <p:nvSpPr>
            <p:cNvPr id="281" name="Rectangle 280">
              <a:extLst>
                <a:ext uri="{FF2B5EF4-FFF2-40B4-BE49-F238E27FC236}">
                  <a16:creationId xmlns:a16="http://schemas.microsoft.com/office/drawing/2014/main" id="{4BB09C9D-0AC1-4B98-9925-F2888808A831}"/>
                </a:ext>
              </a:extLst>
            </p:cNvPr>
            <p:cNvSpPr/>
            <p:nvPr/>
          </p:nvSpPr>
          <p:spPr>
            <a:xfrm>
              <a:off x="10459854" y="4489624"/>
              <a:ext cx="636393" cy="338554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>
                <a:defRPr/>
              </a:pPr>
              <a:r>
                <a:rPr lang="en-US" sz="1600" b="1" dirty="0">
                  <a:solidFill>
                    <a:srgbClr val="0072BA"/>
                  </a:solidFill>
                  <a:cs typeface="Gotham Bold" pitchFamily="50" charset="0"/>
                </a:rPr>
                <a:t>APAC</a:t>
              </a:r>
            </a:p>
          </p:txBody>
        </p:sp>
        <p:sp>
          <p:nvSpPr>
            <p:cNvPr id="284" name="Rectangle 283">
              <a:extLst>
                <a:ext uri="{FF2B5EF4-FFF2-40B4-BE49-F238E27FC236}">
                  <a16:creationId xmlns:a16="http://schemas.microsoft.com/office/drawing/2014/main" id="{6759408A-FFA0-499B-A3BE-FA05A9184CEF}"/>
                </a:ext>
              </a:extLst>
            </p:cNvPr>
            <p:cNvSpPr/>
            <p:nvPr/>
          </p:nvSpPr>
          <p:spPr>
            <a:xfrm>
              <a:off x="10941699" y="4851343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China</a:t>
              </a:r>
            </a:p>
          </p:txBody>
        </p:sp>
        <p:sp>
          <p:nvSpPr>
            <p:cNvPr id="287" name="Rectangle 286">
              <a:extLst>
                <a:ext uri="{FF2B5EF4-FFF2-40B4-BE49-F238E27FC236}">
                  <a16:creationId xmlns:a16="http://schemas.microsoft.com/office/drawing/2014/main" id="{6136DDA0-148E-428A-9A0A-E2C6145E7BA6}"/>
                </a:ext>
              </a:extLst>
            </p:cNvPr>
            <p:cNvSpPr/>
            <p:nvPr/>
          </p:nvSpPr>
          <p:spPr>
            <a:xfrm>
              <a:off x="10941699" y="5242664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Vietnam</a:t>
              </a:r>
            </a:p>
          </p:txBody>
        </p:sp>
        <p:sp>
          <p:nvSpPr>
            <p:cNvPr id="290" name="Rectangle 289">
              <a:extLst>
                <a:ext uri="{FF2B5EF4-FFF2-40B4-BE49-F238E27FC236}">
                  <a16:creationId xmlns:a16="http://schemas.microsoft.com/office/drawing/2014/main" id="{B3CF641F-E8EE-4A0E-BC24-3B112D418C3E}"/>
                </a:ext>
              </a:extLst>
            </p:cNvPr>
            <p:cNvSpPr/>
            <p:nvPr/>
          </p:nvSpPr>
          <p:spPr>
            <a:xfrm>
              <a:off x="10941699" y="5633985"/>
              <a:ext cx="908877" cy="247905"/>
            </a:xfrm>
            <a:prstGeom prst="rect">
              <a:avLst/>
            </a:prstGeom>
          </p:spPr>
          <p:txBody>
            <a:bodyPr wrap="none" lIns="0" tIns="0" rIns="0" bIns="0" anchor="ctr">
              <a:noAutofit/>
            </a:bodyPr>
            <a:lstStyle/>
            <a:p>
              <a:pPr lvl="0">
                <a:defRPr/>
              </a:pPr>
              <a:r>
                <a:rPr lang="en-US" sz="1400" dirty="0">
                  <a:cs typeface="Gotham-BookItalic" pitchFamily="50" charset="0"/>
                </a:rPr>
                <a:t>India</a:t>
              </a:r>
            </a:p>
          </p:txBody>
        </p:sp>
        <p:pic>
          <p:nvPicPr>
            <p:cNvPr id="121" name="Picture 120">
              <a:extLst>
                <a:ext uri="{FF2B5EF4-FFF2-40B4-BE49-F238E27FC236}">
                  <a16:creationId xmlns:a16="http://schemas.microsoft.com/office/drawing/2014/main" id="{C01FDBAB-0108-41D6-8AA1-AE0C283CF8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4051626"/>
              <a:ext cx="322029" cy="324000"/>
            </a:xfrm>
            <a:prstGeom prst="rect">
              <a:avLst/>
            </a:prstGeom>
          </p:spPr>
        </p:pic>
        <p:pic>
          <p:nvPicPr>
            <p:cNvPr id="122" name="Picture 121">
              <a:extLst>
                <a:ext uri="{FF2B5EF4-FFF2-40B4-BE49-F238E27FC236}">
                  <a16:creationId xmlns:a16="http://schemas.microsoft.com/office/drawing/2014/main" id="{7D0671A1-DBDF-45F6-AFA7-C8B93ED81DB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3268984"/>
              <a:ext cx="322029" cy="324000"/>
            </a:xfrm>
            <a:prstGeom prst="rect">
              <a:avLst/>
            </a:prstGeom>
          </p:spPr>
        </p:pic>
        <p:pic>
          <p:nvPicPr>
            <p:cNvPr id="123" name="Picture 122">
              <a:extLst>
                <a:ext uri="{FF2B5EF4-FFF2-40B4-BE49-F238E27FC236}">
                  <a16:creationId xmlns:a16="http://schemas.microsoft.com/office/drawing/2014/main" id="{DC7D2AB7-E7A1-4B9A-85CA-15CE2B755AA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4813295"/>
              <a:ext cx="322029" cy="324000"/>
            </a:xfrm>
            <a:prstGeom prst="rect">
              <a:avLst/>
            </a:prstGeom>
          </p:spPr>
        </p:pic>
        <p:pic>
          <p:nvPicPr>
            <p:cNvPr id="130" name="Picture 129">
              <a:extLst>
                <a:ext uri="{FF2B5EF4-FFF2-40B4-BE49-F238E27FC236}">
                  <a16:creationId xmlns:a16="http://schemas.microsoft.com/office/drawing/2014/main" id="{5B2E2A0C-00B7-45FC-9953-F9EF8556CDB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5204616"/>
              <a:ext cx="322029" cy="324000"/>
            </a:xfrm>
            <a:prstGeom prst="rect">
              <a:avLst/>
            </a:prstGeom>
          </p:spPr>
        </p:pic>
        <p:pic>
          <p:nvPicPr>
            <p:cNvPr id="131" name="Picture 130">
              <a:extLst>
                <a:ext uri="{FF2B5EF4-FFF2-40B4-BE49-F238E27FC236}">
                  <a16:creationId xmlns:a16="http://schemas.microsoft.com/office/drawing/2014/main" id="{CA10E0F1-3E1F-457B-9D55-79F0787883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3660305"/>
              <a:ext cx="322029" cy="324000"/>
            </a:xfrm>
            <a:prstGeom prst="rect">
              <a:avLst/>
            </a:prstGeom>
          </p:spPr>
        </p:pic>
        <p:pic>
          <p:nvPicPr>
            <p:cNvPr id="133" name="Picture 132">
              <a:extLst>
                <a:ext uri="{FF2B5EF4-FFF2-40B4-BE49-F238E27FC236}">
                  <a16:creationId xmlns:a16="http://schemas.microsoft.com/office/drawing/2014/main" id="{7068232D-8C1F-411B-AEA6-D9317E351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2877663"/>
              <a:ext cx="322029" cy="324000"/>
            </a:xfrm>
            <a:prstGeom prst="rect">
              <a:avLst/>
            </a:prstGeom>
          </p:spPr>
        </p:pic>
        <p:pic>
          <p:nvPicPr>
            <p:cNvPr id="126" name="Picture 125">
              <a:extLst>
                <a:ext uri="{FF2B5EF4-FFF2-40B4-BE49-F238E27FC236}">
                  <a16:creationId xmlns:a16="http://schemas.microsoft.com/office/drawing/2014/main" id="{36D3DE03-A186-46F3-8885-DD4E8FE801B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548966" y="5595937"/>
              <a:ext cx="322029" cy="324000"/>
            </a:xfrm>
            <a:prstGeom prst="rect">
              <a:avLst/>
            </a:prstGeom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64DFF625-F3DE-2141-87FE-5A170776D5B9}"/>
              </a:ext>
            </a:extLst>
          </p:cNvPr>
          <p:cNvSpPr txBox="1"/>
          <p:nvPr/>
        </p:nvSpPr>
        <p:spPr>
          <a:xfrm>
            <a:off x="3376576" y="4047200"/>
            <a:ext cx="560172" cy="392588"/>
          </a:xfrm>
          <a:prstGeom prst="rect">
            <a:avLst/>
          </a:prstGeom>
        </p:spPr>
        <p:txBody>
          <a:bodyPr wrap="square" rtlCol="0">
            <a:noAutofit/>
          </a:bodyPr>
          <a:lstStyle/>
          <a:p>
            <a:pPr>
              <a:spcBef>
                <a:spcPts val="587"/>
              </a:spcBef>
              <a:buSzPct val="100000"/>
            </a:pPr>
            <a:r>
              <a:rPr lang="en-US" sz="1600" dirty="0">
                <a:solidFill>
                  <a:schemeClr val="bg2">
                    <a:lumMod val="75000"/>
                  </a:schemeClr>
                </a:solidFill>
              </a:rPr>
              <a:t>HQ</a:t>
            </a:r>
          </a:p>
        </p:txBody>
      </p:sp>
      <p:sp>
        <p:nvSpPr>
          <p:cNvPr id="162" name="Rectangle: Rounded Corners 791">
            <a:extLst>
              <a:ext uri="{FF2B5EF4-FFF2-40B4-BE49-F238E27FC236}">
                <a16:creationId xmlns:a16="http://schemas.microsoft.com/office/drawing/2014/main" id="{29226656-4616-634B-B89D-0D81C36482AF}"/>
              </a:ext>
            </a:extLst>
          </p:cNvPr>
          <p:cNvSpPr/>
          <p:nvPr/>
        </p:nvSpPr>
        <p:spPr>
          <a:xfrm>
            <a:off x="1229072" y="1692386"/>
            <a:ext cx="1501226" cy="724394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Started in 2003; turned around in 2013</a:t>
            </a:r>
          </a:p>
        </p:txBody>
      </p:sp>
      <p:sp>
        <p:nvSpPr>
          <p:cNvPr id="160" name="Rectangle: Rounded Corners 809">
            <a:extLst>
              <a:ext uri="{FF2B5EF4-FFF2-40B4-BE49-F238E27FC236}">
                <a16:creationId xmlns:a16="http://schemas.microsoft.com/office/drawing/2014/main" id="{32E8EC42-D5AE-DD4C-AD4D-C7559329C82E}"/>
              </a:ext>
            </a:extLst>
          </p:cNvPr>
          <p:cNvSpPr/>
          <p:nvPr/>
        </p:nvSpPr>
        <p:spPr>
          <a:xfrm>
            <a:off x="4956172" y="1695268"/>
            <a:ext cx="1501226" cy="724394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Marketer led; plus media sellers, tech and agencies</a:t>
            </a:r>
          </a:p>
        </p:txBody>
      </p:sp>
      <p:sp>
        <p:nvSpPr>
          <p:cNvPr id="158" name="Rectangle: Rounded Corners 815">
            <a:extLst>
              <a:ext uri="{FF2B5EF4-FFF2-40B4-BE49-F238E27FC236}">
                <a16:creationId xmlns:a16="http://schemas.microsoft.com/office/drawing/2014/main" id="{733B41CD-0C0E-BD45-A5AC-09C8524E515B}"/>
              </a:ext>
            </a:extLst>
          </p:cNvPr>
          <p:cNvSpPr/>
          <p:nvPr/>
        </p:nvSpPr>
        <p:spPr>
          <a:xfrm>
            <a:off x="6766305" y="1700527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55+ team worldwide</a:t>
            </a:r>
          </a:p>
        </p:txBody>
      </p:sp>
      <p:sp>
        <p:nvSpPr>
          <p:cNvPr id="156" name="Rectangle: Rounded Corners 818">
            <a:extLst>
              <a:ext uri="{FF2B5EF4-FFF2-40B4-BE49-F238E27FC236}">
                <a16:creationId xmlns:a16="http://schemas.microsoft.com/office/drawing/2014/main" id="{24F89BAF-57D0-DE4C-9209-9B6408EFDB01}"/>
              </a:ext>
            </a:extLst>
          </p:cNvPr>
          <p:cNvSpPr/>
          <p:nvPr/>
        </p:nvSpPr>
        <p:spPr>
          <a:xfrm>
            <a:off x="3075084" y="1692383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Operations in 15 countries</a:t>
            </a:r>
          </a:p>
        </p:txBody>
      </p:sp>
      <p:sp>
        <p:nvSpPr>
          <p:cNvPr id="138" name="Rectangle: Rounded Corners 821">
            <a:extLst>
              <a:ext uri="{FF2B5EF4-FFF2-40B4-BE49-F238E27FC236}">
                <a16:creationId xmlns:a16="http://schemas.microsoft.com/office/drawing/2014/main" id="{EFE28736-07EC-0741-97BF-D36482248B8B}"/>
              </a:ext>
            </a:extLst>
          </p:cNvPr>
          <p:cNvSpPr/>
          <p:nvPr/>
        </p:nvSpPr>
        <p:spPr>
          <a:xfrm>
            <a:off x="8690667" y="1700527"/>
            <a:ext cx="1501226" cy="724397"/>
          </a:xfrm>
          <a:prstGeom prst="roundRect">
            <a:avLst>
              <a:gd name="adj" fmla="val 6440"/>
            </a:avLst>
          </a:prstGeom>
          <a:solidFill>
            <a:srgbClr val="0070C0"/>
          </a:solidFill>
          <a:ln>
            <a:noFill/>
          </a:ln>
          <a:effectLst>
            <a:outerShdw blurRad="63500" dist="508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400"/>
              </a:lnSpc>
            </a:pPr>
            <a:r>
              <a:rPr lang="en-US" sz="1300" dirty="0">
                <a:solidFill>
                  <a:schemeClr val="bg1"/>
                </a:solidFill>
              </a:rPr>
              <a:t>25+ conferences in 15 countrie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B23D71DE-C363-CD45-A12D-64C76FCBB806}"/>
              </a:ext>
            </a:extLst>
          </p:cNvPr>
          <p:cNvSpPr/>
          <p:nvPr/>
        </p:nvSpPr>
        <p:spPr>
          <a:xfrm>
            <a:off x="4636786" y="3244334"/>
            <a:ext cx="29184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/>
              <a:t>mdellapenna@inmarke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63419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46BE3235-6819-4306-91E1-36BCF60621D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0744" y="273828"/>
            <a:ext cx="10893251" cy="887949"/>
          </a:xfrm>
        </p:spPr>
        <p:txBody>
          <a:bodyPr>
            <a:normAutofit fontScale="90000"/>
          </a:bodyPr>
          <a:lstStyle/>
          <a:p>
            <a:r>
              <a:rPr lang="en-GB" dirty="0"/>
              <a:t>MMA Is 800+ Members Strong</a:t>
            </a:r>
            <a:br>
              <a:rPr lang="en-GB" dirty="0"/>
            </a:br>
            <a:r>
              <a:rPr lang="en-GB" sz="2000" dirty="0"/>
              <a:t>MARKETERS, AGENCIES, MEDIA SELLERS, TECHNOLOGY &amp; SOLUTION PROVIDER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9F9CD5B8-54B2-432B-ABD7-94508B178054}"/>
              </a:ext>
            </a:extLst>
          </p:cNvPr>
          <p:cNvSpPr/>
          <p:nvPr/>
        </p:nvSpPr>
        <p:spPr>
          <a:xfrm>
            <a:off x="719990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9605DD3-AC5D-4EFC-A538-C11BB208FB06}"/>
              </a:ext>
            </a:extLst>
          </p:cNvPr>
          <p:cNvSpPr/>
          <p:nvPr/>
        </p:nvSpPr>
        <p:spPr>
          <a:xfrm>
            <a:off x="10471601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C8CBDE4-1240-4599-949A-DA55B0A1FA41}"/>
              </a:ext>
            </a:extLst>
          </p:cNvPr>
          <p:cNvSpPr/>
          <p:nvPr/>
        </p:nvSpPr>
        <p:spPr>
          <a:xfrm>
            <a:off x="1938942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C45BA25-B592-4BB2-A118-A80D25A7D0CB}"/>
              </a:ext>
            </a:extLst>
          </p:cNvPr>
          <p:cNvSpPr/>
          <p:nvPr/>
        </p:nvSpPr>
        <p:spPr>
          <a:xfrm>
            <a:off x="3157893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59F977C-EFE9-4FAE-B84C-B07A4A516F67}"/>
              </a:ext>
            </a:extLst>
          </p:cNvPr>
          <p:cNvSpPr/>
          <p:nvPr/>
        </p:nvSpPr>
        <p:spPr>
          <a:xfrm>
            <a:off x="4376843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CB359A5B-5444-4D95-9448-DC10304E4EC8}"/>
              </a:ext>
            </a:extLst>
          </p:cNvPr>
          <p:cNvSpPr/>
          <p:nvPr/>
        </p:nvSpPr>
        <p:spPr>
          <a:xfrm>
            <a:off x="5595794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858598E-B518-4F0E-A5AB-73E6492C186C}"/>
              </a:ext>
            </a:extLst>
          </p:cNvPr>
          <p:cNvSpPr/>
          <p:nvPr/>
        </p:nvSpPr>
        <p:spPr>
          <a:xfrm>
            <a:off x="6814746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B18B560-7FFA-465D-9DA9-F5DB96D988AE}"/>
              </a:ext>
            </a:extLst>
          </p:cNvPr>
          <p:cNvSpPr/>
          <p:nvPr/>
        </p:nvSpPr>
        <p:spPr>
          <a:xfrm>
            <a:off x="8033697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81C9130-DB46-45B0-9FB3-C177FAFEC80C}"/>
              </a:ext>
            </a:extLst>
          </p:cNvPr>
          <p:cNvSpPr/>
          <p:nvPr/>
        </p:nvSpPr>
        <p:spPr>
          <a:xfrm>
            <a:off x="9252647" y="1276349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0708AD7D-8EF4-4D5C-BFD7-3EFDE877E09B}"/>
              </a:ext>
            </a:extLst>
          </p:cNvPr>
          <p:cNvSpPr/>
          <p:nvPr/>
        </p:nvSpPr>
        <p:spPr>
          <a:xfrm>
            <a:off x="719990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258EF6B0-0D02-448F-86A6-286D37287A50}"/>
              </a:ext>
            </a:extLst>
          </p:cNvPr>
          <p:cNvSpPr/>
          <p:nvPr/>
        </p:nvSpPr>
        <p:spPr>
          <a:xfrm>
            <a:off x="10471601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DA9A291F-2CC5-4365-961E-47E4A0A1F387}"/>
              </a:ext>
            </a:extLst>
          </p:cNvPr>
          <p:cNvSpPr/>
          <p:nvPr/>
        </p:nvSpPr>
        <p:spPr>
          <a:xfrm>
            <a:off x="1938942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D34E5451-D1B1-4588-9659-B42737F10604}"/>
              </a:ext>
            </a:extLst>
          </p:cNvPr>
          <p:cNvSpPr/>
          <p:nvPr/>
        </p:nvSpPr>
        <p:spPr>
          <a:xfrm>
            <a:off x="3157893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156233B-7AB2-45EF-8BE5-A08139CB5E82}"/>
              </a:ext>
            </a:extLst>
          </p:cNvPr>
          <p:cNvSpPr/>
          <p:nvPr/>
        </p:nvSpPr>
        <p:spPr>
          <a:xfrm>
            <a:off x="4376843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7AB53B3-A395-42BA-BB9E-EE3F12894425}"/>
              </a:ext>
            </a:extLst>
          </p:cNvPr>
          <p:cNvSpPr/>
          <p:nvPr/>
        </p:nvSpPr>
        <p:spPr>
          <a:xfrm>
            <a:off x="5595794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FC41AB15-3E06-4DF4-92C2-F31D85849479}"/>
              </a:ext>
            </a:extLst>
          </p:cNvPr>
          <p:cNvSpPr/>
          <p:nvPr/>
        </p:nvSpPr>
        <p:spPr>
          <a:xfrm>
            <a:off x="6814746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3CF3D7F6-42B5-4411-B3CF-A674F39D60E7}"/>
              </a:ext>
            </a:extLst>
          </p:cNvPr>
          <p:cNvSpPr/>
          <p:nvPr/>
        </p:nvSpPr>
        <p:spPr>
          <a:xfrm>
            <a:off x="8033697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CF7B197-CD48-47F7-BA23-073269CAF89F}"/>
              </a:ext>
            </a:extLst>
          </p:cNvPr>
          <p:cNvSpPr/>
          <p:nvPr/>
        </p:nvSpPr>
        <p:spPr>
          <a:xfrm>
            <a:off x="9252647" y="1888284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B3605DC4-0924-4B38-B0F0-8841C6FB1975}"/>
              </a:ext>
            </a:extLst>
          </p:cNvPr>
          <p:cNvGrpSpPr/>
          <p:nvPr/>
        </p:nvGrpSpPr>
        <p:grpSpPr>
          <a:xfrm>
            <a:off x="719990" y="2500220"/>
            <a:ext cx="10923185" cy="574203"/>
            <a:chOff x="981005" y="1276349"/>
            <a:chExt cx="10923185" cy="612853"/>
          </a:xfrm>
        </p:grpSpPr>
        <p:sp>
          <p:nvSpPr>
            <p:cNvPr id="49" name="Rectangle 48">
              <a:extLst>
                <a:ext uri="{FF2B5EF4-FFF2-40B4-BE49-F238E27FC236}">
                  <a16:creationId xmlns:a16="http://schemas.microsoft.com/office/drawing/2014/main" id="{C7ECF2A8-93E3-4528-A153-B3B371C50BC8}"/>
                </a:ext>
              </a:extLst>
            </p:cNvPr>
            <p:cNvSpPr/>
            <p:nvPr/>
          </p:nvSpPr>
          <p:spPr>
            <a:xfrm>
              <a:off x="981005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EEBAE98A-EEA8-4E9F-B60B-4EC4C03C1577}"/>
                </a:ext>
              </a:extLst>
            </p:cNvPr>
            <p:cNvSpPr/>
            <p:nvPr/>
          </p:nvSpPr>
          <p:spPr>
            <a:xfrm>
              <a:off x="10732615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EA55B664-ED0C-435A-97EC-39E07F468928}"/>
                </a:ext>
              </a:extLst>
            </p:cNvPr>
            <p:cNvSpPr/>
            <p:nvPr/>
          </p:nvSpPr>
          <p:spPr>
            <a:xfrm>
              <a:off x="2199956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3757C2CD-0CC6-4007-8393-4DDBFC7C5ED1}"/>
                </a:ext>
              </a:extLst>
            </p:cNvPr>
            <p:cNvSpPr/>
            <p:nvPr/>
          </p:nvSpPr>
          <p:spPr>
            <a:xfrm>
              <a:off x="3418907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4D440FAC-5609-495A-B4E4-249694720EB6}"/>
                </a:ext>
              </a:extLst>
            </p:cNvPr>
            <p:cNvSpPr/>
            <p:nvPr/>
          </p:nvSpPr>
          <p:spPr>
            <a:xfrm>
              <a:off x="4637858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4C125FD1-9CF7-4443-9848-7E61F4632D00}"/>
                </a:ext>
              </a:extLst>
            </p:cNvPr>
            <p:cNvSpPr/>
            <p:nvPr/>
          </p:nvSpPr>
          <p:spPr>
            <a:xfrm>
              <a:off x="5856809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83B97D56-E55B-4FC8-B031-172CA0A796D5}"/>
                </a:ext>
              </a:extLst>
            </p:cNvPr>
            <p:cNvSpPr/>
            <p:nvPr/>
          </p:nvSpPr>
          <p:spPr>
            <a:xfrm>
              <a:off x="7075760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30B2343C-372F-40EE-A703-33B77EC7365A}"/>
                </a:ext>
              </a:extLst>
            </p:cNvPr>
            <p:cNvSpPr/>
            <p:nvPr/>
          </p:nvSpPr>
          <p:spPr>
            <a:xfrm>
              <a:off x="8294711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E5A63127-985D-4FD7-96AF-51E1F53F3BC4}"/>
                </a:ext>
              </a:extLst>
            </p:cNvPr>
            <p:cNvSpPr/>
            <p:nvPr/>
          </p:nvSpPr>
          <p:spPr>
            <a:xfrm>
              <a:off x="9513662" y="1276349"/>
              <a:ext cx="1171575" cy="612853"/>
            </a:xfrm>
            <a:prstGeom prst="rect">
              <a:avLst/>
            </a:prstGeom>
            <a:noFill/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endParaRPr>
            </a:p>
          </p:txBody>
        </p:sp>
      </p:grpSp>
      <p:sp>
        <p:nvSpPr>
          <p:cNvPr id="59" name="Rectangle 58">
            <a:extLst>
              <a:ext uri="{FF2B5EF4-FFF2-40B4-BE49-F238E27FC236}">
                <a16:creationId xmlns:a16="http://schemas.microsoft.com/office/drawing/2014/main" id="{9B4B162F-D78E-4C47-8D7E-0262689E2380}"/>
              </a:ext>
            </a:extLst>
          </p:cNvPr>
          <p:cNvSpPr/>
          <p:nvPr/>
        </p:nvSpPr>
        <p:spPr>
          <a:xfrm>
            <a:off x="719990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A1BC7A6-85AF-4AD6-BE40-CABC8ADCC91B}"/>
              </a:ext>
            </a:extLst>
          </p:cNvPr>
          <p:cNvSpPr/>
          <p:nvPr/>
        </p:nvSpPr>
        <p:spPr>
          <a:xfrm>
            <a:off x="10471601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DC355BBD-9C76-4AC9-930D-8562613A7D90}"/>
              </a:ext>
            </a:extLst>
          </p:cNvPr>
          <p:cNvSpPr/>
          <p:nvPr/>
        </p:nvSpPr>
        <p:spPr>
          <a:xfrm>
            <a:off x="1938942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39E320BF-3886-42FC-9E81-E09C52EB3E0E}"/>
              </a:ext>
            </a:extLst>
          </p:cNvPr>
          <p:cNvSpPr/>
          <p:nvPr/>
        </p:nvSpPr>
        <p:spPr>
          <a:xfrm>
            <a:off x="3157893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077E44A-FE4C-4CEE-B33B-E9F136B656E3}"/>
              </a:ext>
            </a:extLst>
          </p:cNvPr>
          <p:cNvSpPr/>
          <p:nvPr/>
        </p:nvSpPr>
        <p:spPr>
          <a:xfrm>
            <a:off x="4376843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7E3D306B-A687-4A46-8DFF-93143DABCDC2}"/>
              </a:ext>
            </a:extLst>
          </p:cNvPr>
          <p:cNvSpPr/>
          <p:nvPr/>
        </p:nvSpPr>
        <p:spPr>
          <a:xfrm>
            <a:off x="5595794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448A934-E6D8-4AA4-A402-D79C2F695D1B}"/>
              </a:ext>
            </a:extLst>
          </p:cNvPr>
          <p:cNvSpPr/>
          <p:nvPr/>
        </p:nvSpPr>
        <p:spPr>
          <a:xfrm>
            <a:off x="6814746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2D60A29E-6375-49B4-90A5-DBF10D1D234C}"/>
              </a:ext>
            </a:extLst>
          </p:cNvPr>
          <p:cNvSpPr/>
          <p:nvPr/>
        </p:nvSpPr>
        <p:spPr>
          <a:xfrm>
            <a:off x="8033697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1EC0DBF4-5786-46E3-9247-5C1D6B7B026F}"/>
              </a:ext>
            </a:extLst>
          </p:cNvPr>
          <p:cNvSpPr/>
          <p:nvPr/>
        </p:nvSpPr>
        <p:spPr>
          <a:xfrm>
            <a:off x="9252647" y="311215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FB23ED99-FEFD-468A-954F-AB109E5EE9D9}"/>
              </a:ext>
            </a:extLst>
          </p:cNvPr>
          <p:cNvSpPr/>
          <p:nvPr/>
        </p:nvSpPr>
        <p:spPr>
          <a:xfrm>
            <a:off x="719990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AACAE997-BD63-4E23-9E26-C36A84E7BC48}"/>
              </a:ext>
            </a:extLst>
          </p:cNvPr>
          <p:cNvSpPr/>
          <p:nvPr/>
        </p:nvSpPr>
        <p:spPr>
          <a:xfrm>
            <a:off x="10471601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94528936-3179-4816-BA63-199B28525B8E}"/>
              </a:ext>
            </a:extLst>
          </p:cNvPr>
          <p:cNvSpPr/>
          <p:nvPr/>
        </p:nvSpPr>
        <p:spPr>
          <a:xfrm>
            <a:off x="1938942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50B43512-CEFE-4C98-A4C7-4E3D3951E0D2}"/>
              </a:ext>
            </a:extLst>
          </p:cNvPr>
          <p:cNvSpPr/>
          <p:nvPr/>
        </p:nvSpPr>
        <p:spPr>
          <a:xfrm>
            <a:off x="3157893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0ADD30B8-18B6-4C93-A697-C94CD6F2AE63}"/>
              </a:ext>
            </a:extLst>
          </p:cNvPr>
          <p:cNvSpPr/>
          <p:nvPr/>
        </p:nvSpPr>
        <p:spPr>
          <a:xfrm>
            <a:off x="4376843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31D3D4F0-D92B-4910-BEC2-10C3DC53EC51}"/>
              </a:ext>
            </a:extLst>
          </p:cNvPr>
          <p:cNvSpPr/>
          <p:nvPr/>
        </p:nvSpPr>
        <p:spPr>
          <a:xfrm>
            <a:off x="5595794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4AA5C0E0-CF8B-4391-B23C-13824C265928}"/>
              </a:ext>
            </a:extLst>
          </p:cNvPr>
          <p:cNvSpPr/>
          <p:nvPr/>
        </p:nvSpPr>
        <p:spPr>
          <a:xfrm>
            <a:off x="6814746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AB39A2AE-16BC-4A74-855B-EC8F597562E0}"/>
              </a:ext>
            </a:extLst>
          </p:cNvPr>
          <p:cNvSpPr/>
          <p:nvPr/>
        </p:nvSpPr>
        <p:spPr>
          <a:xfrm>
            <a:off x="8033697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D1A238C5-99B6-4518-AC4E-A1B3B2356B94}"/>
              </a:ext>
            </a:extLst>
          </p:cNvPr>
          <p:cNvSpPr/>
          <p:nvPr/>
        </p:nvSpPr>
        <p:spPr>
          <a:xfrm>
            <a:off x="9252647" y="372409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320CE0D8-8733-4148-A2A7-7D5CC544D232}"/>
              </a:ext>
            </a:extLst>
          </p:cNvPr>
          <p:cNvSpPr/>
          <p:nvPr/>
        </p:nvSpPr>
        <p:spPr>
          <a:xfrm>
            <a:off x="719990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7BD52D98-8AC6-407F-81AB-63BEF831207A}"/>
              </a:ext>
            </a:extLst>
          </p:cNvPr>
          <p:cNvSpPr/>
          <p:nvPr/>
        </p:nvSpPr>
        <p:spPr>
          <a:xfrm>
            <a:off x="10471601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1" name="Rectangle 80">
            <a:extLst>
              <a:ext uri="{FF2B5EF4-FFF2-40B4-BE49-F238E27FC236}">
                <a16:creationId xmlns:a16="http://schemas.microsoft.com/office/drawing/2014/main" id="{2E398CA8-9662-48E3-9A22-A46E1BC6B2B7}"/>
              </a:ext>
            </a:extLst>
          </p:cNvPr>
          <p:cNvSpPr/>
          <p:nvPr/>
        </p:nvSpPr>
        <p:spPr>
          <a:xfrm>
            <a:off x="1938942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2" name="Rectangle 81">
            <a:extLst>
              <a:ext uri="{FF2B5EF4-FFF2-40B4-BE49-F238E27FC236}">
                <a16:creationId xmlns:a16="http://schemas.microsoft.com/office/drawing/2014/main" id="{D6175A32-6198-44DE-B3AF-453486D7C75D}"/>
              </a:ext>
            </a:extLst>
          </p:cNvPr>
          <p:cNvSpPr/>
          <p:nvPr/>
        </p:nvSpPr>
        <p:spPr>
          <a:xfrm>
            <a:off x="3157893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B899C522-4B57-4428-AB71-12B1CEBB14EA}"/>
              </a:ext>
            </a:extLst>
          </p:cNvPr>
          <p:cNvSpPr/>
          <p:nvPr/>
        </p:nvSpPr>
        <p:spPr>
          <a:xfrm>
            <a:off x="4376843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058D04BB-28E5-419C-84CB-C2C66B0B106C}"/>
              </a:ext>
            </a:extLst>
          </p:cNvPr>
          <p:cNvSpPr/>
          <p:nvPr/>
        </p:nvSpPr>
        <p:spPr>
          <a:xfrm>
            <a:off x="5595794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7A25F2E7-818D-441E-9C32-285595F788E6}"/>
              </a:ext>
            </a:extLst>
          </p:cNvPr>
          <p:cNvSpPr/>
          <p:nvPr/>
        </p:nvSpPr>
        <p:spPr>
          <a:xfrm>
            <a:off x="6814746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6" name="Rectangle 85">
            <a:extLst>
              <a:ext uri="{FF2B5EF4-FFF2-40B4-BE49-F238E27FC236}">
                <a16:creationId xmlns:a16="http://schemas.microsoft.com/office/drawing/2014/main" id="{130F9C08-485E-407B-B8B6-5E78DAB96EBA}"/>
              </a:ext>
            </a:extLst>
          </p:cNvPr>
          <p:cNvSpPr/>
          <p:nvPr/>
        </p:nvSpPr>
        <p:spPr>
          <a:xfrm>
            <a:off x="8033697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8DCF85FB-0283-4025-9FA5-7C8654032D3A}"/>
              </a:ext>
            </a:extLst>
          </p:cNvPr>
          <p:cNvSpPr/>
          <p:nvPr/>
        </p:nvSpPr>
        <p:spPr>
          <a:xfrm>
            <a:off x="9252647" y="4336025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131B1548-D56D-4A0E-A063-EB18DCDD3F0B}"/>
              </a:ext>
            </a:extLst>
          </p:cNvPr>
          <p:cNvSpPr/>
          <p:nvPr/>
        </p:nvSpPr>
        <p:spPr>
          <a:xfrm>
            <a:off x="719990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A615AD45-8984-4A28-887E-0E274C7AC81D}"/>
              </a:ext>
            </a:extLst>
          </p:cNvPr>
          <p:cNvSpPr/>
          <p:nvPr/>
        </p:nvSpPr>
        <p:spPr>
          <a:xfrm>
            <a:off x="10471601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5F0398FA-3EA1-416A-A04E-46724985CC36}"/>
              </a:ext>
            </a:extLst>
          </p:cNvPr>
          <p:cNvSpPr/>
          <p:nvPr/>
        </p:nvSpPr>
        <p:spPr>
          <a:xfrm>
            <a:off x="1938942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42A286E8-A4BD-4AEE-B4D0-54EF8E90A4DA}"/>
              </a:ext>
            </a:extLst>
          </p:cNvPr>
          <p:cNvSpPr/>
          <p:nvPr/>
        </p:nvSpPr>
        <p:spPr>
          <a:xfrm>
            <a:off x="3157893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id="{E575FC13-D32F-44C6-9980-4D5AC28AF07F}"/>
              </a:ext>
            </a:extLst>
          </p:cNvPr>
          <p:cNvSpPr/>
          <p:nvPr/>
        </p:nvSpPr>
        <p:spPr>
          <a:xfrm>
            <a:off x="4376843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4" name="Rectangle 93">
            <a:extLst>
              <a:ext uri="{FF2B5EF4-FFF2-40B4-BE49-F238E27FC236}">
                <a16:creationId xmlns:a16="http://schemas.microsoft.com/office/drawing/2014/main" id="{EFA20FD0-168D-4973-8E74-8D67D088C72C}"/>
              </a:ext>
            </a:extLst>
          </p:cNvPr>
          <p:cNvSpPr/>
          <p:nvPr/>
        </p:nvSpPr>
        <p:spPr>
          <a:xfrm>
            <a:off x="5595794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5" name="Rectangle 94">
            <a:extLst>
              <a:ext uri="{FF2B5EF4-FFF2-40B4-BE49-F238E27FC236}">
                <a16:creationId xmlns:a16="http://schemas.microsoft.com/office/drawing/2014/main" id="{4A2C2FB6-6E2A-458A-986E-E7DB6D87413B}"/>
              </a:ext>
            </a:extLst>
          </p:cNvPr>
          <p:cNvSpPr/>
          <p:nvPr/>
        </p:nvSpPr>
        <p:spPr>
          <a:xfrm>
            <a:off x="6814746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5C804648-829F-4B46-A74B-F3326C273907}"/>
              </a:ext>
            </a:extLst>
          </p:cNvPr>
          <p:cNvSpPr/>
          <p:nvPr/>
        </p:nvSpPr>
        <p:spPr>
          <a:xfrm>
            <a:off x="8033697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7" name="Rectangle 96">
            <a:extLst>
              <a:ext uri="{FF2B5EF4-FFF2-40B4-BE49-F238E27FC236}">
                <a16:creationId xmlns:a16="http://schemas.microsoft.com/office/drawing/2014/main" id="{581F9363-0763-423A-9DAD-3215C858A359}"/>
              </a:ext>
            </a:extLst>
          </p:cNvPr>
          <p:cNvSpPr/>
          <p:nvPr/>
        </p:nvSpPr>
        <p:spPr>
          <a:xfrm>
            <a:off x="9252647" y="494796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0" name="Rectangle 109">
            <a:extLst>
              <a:ext uri="{FF2B5EF4-FFF2-40B4-BE49-F238E27FC236}">
                <a16:creationId xmlns:a16="http://schemas.microsoft.com/office/drawing/2014/main" id="{02B71FE8-604D-4D60-B174-643052643D54}"/>
              </a:ext>
            </a:extLst>
          </p:cNvPr>
          <p:cNvSpPr/>
          <p:nvPr/>
        </p:nvSpPr>
        <p:spPr>
          <a:xfrm>
            <a:off x="9266694" y="5563541"/>
            <a:ext cx="1163881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3AF0BB37-DFAE-4F49-9A39-D79FE72ECF45}"/>
              </a:ext>
            </a:extLst>
          </p:cNvPr>
          <p:cNvSpPr/>
          <p:nvPr/>
        </p:nvSpPr>
        <p:spPr>
          <a:xfrm>
            <a:off x="10471600" y="5564941"/>
            <a:ext cx="1141379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1026" name="Picture 2" descr="http://www.mmaglobal.com/files/styles/member_logo_medium/public/logos/unknown_45.png?itok=-tKvgdzZ">
            <a:extLst>
              <a:ext uri="{FF2B5EF4-FFF2-40B4-BE49-F238E27FC236}">
                <a16:creationId xmlns:a16="http://schemas.microsoft.com/office/drawing/2014/main" id="{BEEEC3E1-9E38-4DB1-A5A7-6C49C23B7C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6095" y="1353993"/>
            <a:ext cx="559364" cy="4474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http://www.mmaglobal.com/files/styles/member_logo_medium/public/logos/snapchat.png?itok=Fp_k83YW">
            <a:extLst>
              <a:ext uri="{FF2B5EF4-FFF2-40B4-BE49-F238E27FC236}">
                <a16:creationId xmlns:a16="http://schemas.microsoft.com/office/drawing/2014/main" id="{E9D120E6-3DFF-443F-B39D-5080B3F9CC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57707" y="1355728"/>
            <a:ext cx="534040" cy="427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http://psiint.com/wp-content/uploads/2017/03/linkedin-logo-copy.png">
            <a:extLst>
              <a:ext uri="{FF2B5EF4-FFF2-40B4-BE49-F238E27FC236}">
                <a16:creationId xmlns:a16="http://schemas.microsoft.com/office/drawing/2014/main" id="{2260DF12-A905-4226-9D69-449FF4424F9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35095" y="1362073"/>
            <a:ext cx="417167" cy="417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7" name="Picture 12" descr="https://www.seeklogo.net/wp-content/uploads/2011/08/facebook-logo-vector-400x400.png">
            <a:extLst>
              <a:ext uri="{FF2B5EF4-FFF2-40B4-BE49-F238E27FC236}">
                <a16:creationId xmlns:a16="http://schemas.microsoft.com/office/drawing/2014/main" id="{40AB90B2-9746-4DF9-AC55-63FB878925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466" t="33537" r="12466" b="33537"/>
          <a:stretch/>
        </p:blipFill>
        <p:spPr bwMode="auto">
          <a:xfrm>
            <a:off x="4540329" y="1428052"/>
            <a:ext cx="844600" cy="3250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8" name="Picture 12" descr="https://upload.wikimedia.org/wikipedia/commons/4/48/EBay_logo.png">
            <a:extLst>
              <a:ext uri="{FF2B5EF4-FFF2-40B4-BE49-F238E27FC236}">
                <a16:creationId xmlns:a16="http://schemas.microsoft.com/office/drawing/2014/main" id="{E21BB3D1-F008-4DF1-A760-75B0861910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827869" y="1391906"/>
            <a:ext cx="786239" cy="343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https://upload.wikimedia.org/wikipedia/commons/thumb/3/34/NBCUNI_Logo.svg/2000px-NBCUNI_Logo.svg.png">
            <a:extLst>
              <a:ext uri="{FF2B5EF4-FFF2-40B4-BE49-F238E27FC236}">
                <a16:creationId xmlns:a16="http://schemas.microsoft.com/office/drawing/2014/main" id="{988C9018-7C88-4051-A009-8A5C567BB98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925739" y="1519364"/>
            <a:ext cx="950771" cy="1079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0" name="Picture 10" descr="https://upload.wikimedia.org/wikipedia/commons/thumb/2/2f/Google_2015_logo.svg/2000px-Google_2015_logo.svg.png">
            <a:extLst>
              <a:ext uri="{FF2B5EF4-FFF2-40B4-BE49-F238E27FC236}">
                <a16:creationId xmlns:a16="http://schemas.microsoft.com/office/drawing/2014/main" id="{EE9EB5F3-B44D-4DDB-9D62-C57DBB58EA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41681" y="1462871"/>
            <a:ext cx="755604" cy="255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http://www.brandchannel.com/wp-content/uploads/2016/02/ibm-weather-company-logo.jpg">
            <a:extLst>
              <a:ext uri="{FF2B5EF4-FFF2-40B4-BE49-F238E27FC236}">
                <a16:creationId xmlns:a16="http://schemas.microsoft.com/office/drawing/2014/main" id="{557D2D6B-F25B-4585-BC6A-A93021E965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84253" y="1923273"/>
            <a:ext cx="522929" cy="5001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http://www.valuewalk.com/wp-content/uploads/2015/02/pandora_logo_blue.jpg">
            <a:extLst>
              <a:ext uri="{FF2B5EF4-FFF2-40B4-BE49-F238E27FC236}">
                <a16:creationId xmlns:a16="http://schemas.microsoft.com/office/drawing/2014/main" id="{88F296C9-E3EB-4C4C-A160-66EB95E330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2083" y="2068767"/>
            <a:ext cx="974799" cy="2132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1" name="Picture 4" descr="https://upload.wikimedia.org/wikipedia/commons/thumb/c/ce/Coca-Cola_logo.svg/2000px-Coca-Cola_logo.svg.png">
            <a:extLst>
              <a:ext uri="{FF2B5EF4-FFF2-40B4-BE49-F238E27FC236}">
                <a16:creationId xmlns:a16="http://schemas.microsoft.com/office/drawing/2014/main" id="{A45980CE-CADD-4116-8607-194F16E56A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93757" y="2068767"/>
            <a:ext cx="727263" cy="241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6" name="Picture 32" descr="http://photos.prnewswire.com/prnfull/20160112/321475LOGO">
            <a:extLst>
              <a:ext uri="{FF2B5EF4-FFF2-40B4-BE49-F238E27FC236}">
                <a16:creationId xmlns:a16="http://schemas.microsoft.com/office/drawing/2014/main" id="{24D26CD9-CB5A-4B16-B136-C8B1685A77F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08789" y="2645695"/>
            <a:ext cx="831879" cy="283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60" name="Picture 36" descr="https://cvshealth.com/sites/default/themes/cvs/img/cvs-health-logo-stacked.png">
            <a:extLst>
              <a:ext uri="{FF2B5EF4-FFF2-40B4-BE49-F238E27FC236}">
                <a16:creationId xmlns:a16="http://schemas.microsoft.com/office/drawing/2014/main" id="{E092FEDF-91C9-478C-827D-AE648310C4E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4110" y="2583349"/>
            <a:ext cx="777039" cy="407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70" name="Picture 46" descr="http://www.mmaglobal.com/files/styles/member_logo_large/public/logos/unknown_3.png?itok=yETp4Hy2">
            <a:extLst>
              <a:ext uri="{FF2B5EF4-FFF2-40B4-BE49-F238E27FC236}">
                <a16:creationId xmlns:a16="http://schemas.microsoft.com/office/drawing/2014/main" id="{6BD5FD1D-8CA1-4256-B9D2-EF55DA05B6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505647" y="3217807"/>
            <a:ext cx="476063" cy="404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0" name="Picture 18" descr="http://www.carlogos.org/logo/Ford-logo-1929-1440x900.png">
            <a:extLst>
              <a:ext uri="{FF2B5EF4-FFF2-40B4-BE49-F238E27FC236}">
                <a16:creationId xmlns:a16="http://schemas.microsoft.com/office/drawing/2014/main" id="{9084B8B3-AD36-4D40-89CF-AAB936380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03577" y="3222275"/>
            <a:ext cx="831808" cy="404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4" name="Picture 60" descr="https://upload.wikimedia.org/wikipedia/commons/thumb/2/22/ETrade.svg/2000px-ETrade.svg.png">
            <a:extLst>
              <a:ext uri="{FF2B5EF4-FFF2-40B4-BE49-F238E27FC236}">
                <a16:creationId xmlns:a16="http://schemas.microsoft.com/office/drawing/2014/main" id="{1CAB9AED-16F5-4E7A-82C7-0F0DD8180D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9579" y="3909562"/>
            <a:ext cx="1086928" cy="271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86" name="Picture 62" descr="Samsung logo PNG">
            <a:extLst>
              <a:ext uri="{FF2B5EF4-FFF2-40B4-BE49-F238E27FC236}">
                <a16:creationId xmlns:a16="http://schemas.microsoft.com/office/drawing/2014/main" id="{976C1C61-E488-4B2A-BCFF-D53829E64C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82789" y="3944725"/>
            <a:ext cx="1102043" cy="201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9" name="Picture 4" descr="https://www.graphicsprings.com/filestorage/images/479/Unilever%20Logo.jpg?width=520&amp;quality=80&amp;crop=0&amp;method=ratio">
            <a:extLst>
              <a:ext uri="{FF2B5EF4-FFF2-40B4-BE49-F238E27FC236}">
                <a16:creationId xmlns:a16="http://schemas.microsoft.com/office/drawing/2014/main" id="{71D563BD-91D3-4468-8104-5347972B18F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36341" y="3784261"/>
            <a:ext cx="490475" cy="4749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2" name="Picture 68" descr="http://www.builtinchicago.org/sites/default/files/imagecache/opengraph/company_logos/vibes_logo_2013_0.png">
            <a:extLst>
              <a:ext uri="{FF2B5EF4-FFF2-40B4-BE49-F238E27FC236}">
                <a16:creationId xmlns:a16="http://schemas.microsoft.com/office/drawing/2014/main" id="{B40BEEDC-FBB2-4B5A-8E27-6BA5F07C59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33963" y="3878964"/>
            <a:ext cx="571040" cy="285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98" name="Picture 74">
            <a:extLst>
              <a:ext uri="{FF2B5EF4-FFF2-40B4-BE49-F238E27FC236}">
                <a16:creationId xmlns:a16="http://schemas.microsoft.com/office/drawing/2014/main" id="{BE603EFD-E515-4F64-8419-74955CC3599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4080" y="4490726"/>
            <a:ext cx="1080667" cy="26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0" name="Picture 76" descr="http://1000logos.net/wp-content/uploads/2016/11/JP-Morgan-Chase-Logo.jpg">
            <a:extLst>
              <a:ext uri="{FF2B5EF4-FFF2-40B4-BE49-F238E27FC236}">
                <a16:creationId xmlns:a16="http://schemas.microsoft.com/office/drawing/2014/main" id="{88D261A0-0C6C-4E75-B2E6-6E0FD3967D8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23462" y="4450069"/>
            <a:ext cx="1045985" cy="3219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2" name="Picture 78" descr="http://www.mmaglobal.com/files/styles/member_logo_large/public/logos/Wal-Mart_logo.png?itok=Piqq7uik">
            <a:extLst>
              <a:ext uri="{FF2B5EF4-FFF2-40B4-BE49-F238E27FC236}">
                <a16:creationId xmlns:a16="http://schemas.microsoft.com/office/drawing/2014/main" id="{4C38D67E-464A-4341-895D-4C0F14C1E80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28315" y="4506225"/>
            <a:ext cx="1030725" cy="281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4" name="Picture 80" descr="http://www.mmaglobal.com/files/styles/member_logo_large/public/logos/unknown_23.png?itok=PvRSlYQM">
            <a:extLst>
              <a:ext uri="{FF2B5EF4-FFF2-40B4-BE49-F238E27FC236}">
                <a16:creationId xmlns:a16="http://schemas.microsoft.com/office/drawing/2014/main" id="{97125D74-070E-45A8-83E9-3B2A91C05EB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54548" y="4374717"/>
            <a:ext cx="634608" cy="539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06" name="Picture 82" descr="http://3blaws.s3.amazonaws.com/images/gm_logo_16x9_0.jpg">
            <a:extLst>
              <a:ext uri="{FF2B5EF4-FFF2-40B4-BE49-F238E27FC236}">
                <a16:creationId xmlns:a16="http://schemas.microsoft.com/office/drawing/2014/main" id="{5B8544D1-888E-4390-B28A-55CDA338581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968117" y="4438535"/>
            <a:ext cx="426923" cy="384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4" name="Picture 90" descr="http://www.commcorestrategies.com/wp-content/uploads/2015/12/Campbell-Soup-Company.png">
            <a:extLst>
              <a:ext uri="{FF2B5EF4-FFF2-40B4-BE49-F238E27FC236}">
                <a16:creationId xmlns:a16="http://schemas.microsoft.com/office/drawing/2014/main" id="{E002E3D8-6F6D-4A72-814A-AE9D6C581A2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669877" y="4454869"/>
            <a:ext cx="775019" cy="3365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18" name="Picture 94" descr="https://business.pinterest.com/sites/default/files/mdp_logo_lg/2017-02/epsilon-888.png">
            <a:extLst>
              <a:ext uri="{FF2B5EF4-FFF2-40B4-BE49-F238E27FC236}">
                <a16:creationId xmlns:a16="http://schemas.microsoft.com/office/drawing/2014/main" id="{FF256B51-A90E-4AA0-8F0F-92767202D3D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114473" y="5093677"/>
            <a:ext cx="820507" cy="282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4" name="Picture 100" descr="https://accionchicago.org/wp-content/uploads/2015/06/MC-Logo.jpg">
            <a:extLst>
              <a:ext uri="{FF2B5EF4-FFF2-40B4-BE49-F238E27FC236}">
                <a16:creationId xmlns:a16="http://schemas.microsoft.com/office/drawing/2014/main" id="{1669CD2C-F093-406D-A269-F7E8F63635B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84406" y="5115262"/>
            <a:ext cx="990223" cy="212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" name="Picture 102" descr="http://gaia.adage.com/images/bin/image/jumbo/neustarlogo3x2.jpg">
            <a:extLst>
              <a:ext uri="{FF2B5EF4-FFF2-40B4-BE49-F238E27FC236}">
                <a16:creationId xmlns:a16="http://schemas.microsoft.com/office/drawing/2014/main" id="{4E243A1E-525D-4AC9-9C6A-55B75CADEFF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74933" y="5115261"/>
            <a:ext cx="1013292" cy="291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" name="Picture 104" descr="http://www.mobyaffiliates.com/wp-content/uploads/2015/04/AppsFlyer-logo.png">
            <a:extLst>
              <a:ext uri="{FF2B5EF4-FFF2-40B4-BE49-F238E27FC236}">
                <a16:creationId xmlns:a16="http://schemas.microsoft.com/office/drawing/2014/main" id="{D4AF394D-369E-4CD8-B048-4538007A17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84632" y="5092695"/>
            <a:ext cx="1030595" cy="3020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8" name="Picture 114" descr="https://upload.wikimedia.org/wikipedia/en/thumb/1/15/DunkinBrands.svg/1280px-DunkinBrands.svg.png">
            <a:extLst>
              <a:ext uri="{FF2B5EF4-FFF2-40B4-BE49-F238E27FC236}">
                <a16:creationId xmlns:a16="http://schemas.microsoft.com/office/drawing/2014/main" id="{E11C008D-5429-4547-84FC-0BC0DAE7605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7773" y="2053353"/>
            <a:ext cx="844619" cy="2705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2" name="Picture 118" descr="http://investcorrectly.com/wp-content/uploads/2015/02/1-800-flowers-logo.jpg">
            <a:extLst>
              <a:ext uri="{FF2B5EF4-FFF2-40B4-BE49-F238E27FC236}">
                <a16:creationId xmlns:a16="http://schemas.microsoft.com/office/drawing/2014/main" id="{9A8C6F82-439E-4E06-8CC0-A1D56CB7ED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66690" y="5617287"/>
            <a:ext cx="1013511" cy="449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8" name="Picture 124" descr="http://logonoid.com/images/chobani-logo.png">
            <a:extLst>
              <a:ext uri="{FF2B5EF4-FFF2-40B4-BE49-F238E27FC236}">
                <a16:creationId xmlns:a16="http://schemas.microsoft.com/office/drawing/2014/main" id="{FCB3C698-FF22-4E6A-85BE-42D4120826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2998" y="5735418"/>
            <a:ext cx="1040813" cy="266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52" name="Picture 128" descr="http://www.edigitalagency.com.au/wp-content/uploads/salesforce-dmp-logo-png-ssp-platform.png">
            <a:extLst>
              <a:ext uri="{FF2B5EF4-FFF2-40B4-BE49-F238E27FC236}">
                <a16:creationId xmlns:a16="http://schemas.microsoft.com/office/drawing/2014/main" id="{F5C8462A-674F-4BB4-B5DB-39A057B12F7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05864" y="1359700"/>
            <a:ext cx="1007115" cy="4355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4" name="Rectangle 153">
            <a:extLst>
              <a:ext uri="{FF2B5EF4-FFF2-40B4-BE49-F238E27FC236}">
                <a16:creationId xmlns:a16="http://schemas.microsoft.com/office/drawing/2014/main" id="{131B1548-D56D-4A0E-A063-EB18DCDD3F0B}"/>
              </a:ext>
            </a:extLst>
          </p:cNvPr>
          <p:cNvSpPr/>
          <p:nvPr/>
        </p:nvSpPr>
        <p:spPr>
          <a:xfrm>
            <a:off x="719990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5F0398FA-3EA1-416A-A04E-46724985CC36}"/>
              </a:ext>
            </a:extLst>
          </p:cNvPr>
          <p:cNvSpPr/>
          <p:nvPr/>
        </p:nvSpPr>
        <p:spPr>
          <a:xfrm>
            <a:off x="1938942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6" name="Rectangle 155">
            <a:extLst>
              <a:ext uri="{FF2B5EF4-FFF2-40B4-BE49-F238E27FC236}">
                <a16:creationId xmlns:a16="http://schemas.microsoft.com/office/drawing/2014/main" id="{42A286E8-A4BD-4AEE-B4D0-54EF8E90A4DA}"/>
              </a:ext>
            </a:extLst>
          </p:cNvPr>
          <p:cNvSpPr/>
          <p:nvPr/>
        </p:nvSpPr>
        <p:spPr>
          <a:xfrm>
            <a:off x="3157893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58" name="Rectangle 157">
            <a:extLst>
              <a:ext uri="{FF2B5EF4-FFF2-40B4-BE49-F238E27FC236}">
                <a16:creationId xmlns:a16="http://schemas.microsoft.com/office/drawing/2014/main" id="{E575FC13-D32F-44C6-9980-4D5AC28AF07F}"/>
              </a:ext>
            </a:extLst>
          </p:cNvPr>
          <p:cNvSpPr/>
          <p:nvPr/>
        </p:nvSpPr>
        <p:spPr>
          <a:xfrm>
            <a:off x="4376843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0" name="Rectangle 159">
            <a:extLst>
              <a:ext uri="{FF2B5EF4-FFF2-40B4-BE49-F238E27FC236}">
                <a16:creationId xmlns:a16="http://schemas.microsoft.com/office/drawing/2014/main" id="{EFA20FD0-168D-4973-8E74-8D67D088C72C}"/>
              </a:ext>
            </a:extLst>
          </p:cNvPr>
          <p:cNvSpPr/>
          <p:nvPr/>
        </p:nvSpPr>
        <p:spPr>
          <a:xfrm>
            <a:off x="5595794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4A2C2FB6-6E2A-458A-986E-E7DB6D87413B}"/>
              </a:ext>
            </a:extLst>
          </p:cNvPr>
          <p:cNvSpPr/>
          <p:nvPr/>
        </p:nvSpPr>
        <p:spPr>
          <a:xfrm>
            <a:off x="6814746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C804648-829F-4B46-A74B-F3326C273907}"/>
              </a:ext>
            </a:extLst>
          </p:cNvPr>
          <p:cNvSpPr/>
          <p:nvPr/>
        </p:nvSpPr>
        <p:spPr>
          <a:xfrm>
            <a:off x="8033697" y="5575131"/>
            <a:ext cx="1171575" cy="574203"/>
          </a:xfrm>
          <a:prstGeom prst="rect">
            <a:avLst/>
          </a:prstGeom>
          <a:noFill/>
          <a:ln w="317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14449" y="3217807"/>
            <a:ext cx="841015" cy="379476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77F541F1-2882-154C-AF47-B01A120FB81B}"/>
              </a:ext>
            </a:extLst>
          </p:cNvPr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20736" y="1378314"/>
            <a:ext cx="1067027" cy="33888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F60A698-B941-F14F-8F4E-78D1461DCBC4}"/>
              </a:ext>
            </a:extLst>
          </p:cNvPr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4728" y="4995053"/>
            <a:ext cx="864149" cy="55359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93F0A740-D70B-734D-940B-BE3432EAC29B}"/>
              </a:ext>
            </a:extLst>
          </p:cNvPr>
          <p:cNvPicPr>
            <a:picLocks noChangeAspect="1"/>
          </p:cNvPicPr>
          <p:nvPr/>
        </p:nvPicPr>
        <p:blipFill>
          <a:blip r:embed="rId3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4111" y="3097638"/>
            <a:ext cx="701679" cy="62645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167F6B7-9600-554F-ACD3-03A40E94B5EF}"/>
              </a:ext>
            </a:extLst>
          </p:cNvPr>
          <p:cNvPicPr>
            <a:picLocks noChangeAspect="1"/>
          </p:cNvPicPr>
          <p:nvPr/>
        </p:nvPicPr>
        <p:blipFill>
          <a:blip r:embed="rId3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3135" y="4234934"/>
            <a:ext cx="1073747" cy="8053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28F6AA5-16E8-8C4C-9790-6E09FD9C95EE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4470" y="2652321"/>
            <a:ext cx="837653" cy="290561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BDF63DA-F1E6-E04F-872C-9E096B290EC4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98767" y="2518494"/>
            <a:ext cx="788127" cy="551073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B31697CA-E338-E143-8359-CAE5DD150050}"/>
              </a:ext>
            </a:extLst>
          </p:cNvPr>
          <p:cNvPicPr>
            <a:picLocks noChangeAspect="1"/>
          </p:cNvPicPr>
          <p:nvPr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42861" y="5085937"/>
            <a:ext cx="1153241" cy="350131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73482229-FA1F-D444-9280-1EB8B48889CC}"/>
              </a:ext>
            </a:extLst>
          </p:cNvPr>
          <p:cNvPicPr>
            <a:picLocks noChangeAspect="1"/>
          </p:cNvPicPr>
          <p:nvPr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3431" y="1609343"/>
            <a:ext cx="1042976" cy="1042976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98A77BCE-7F8A-8245-AACE-73719B7ADB32}"/>
              </a:ext>
            </a:extLst>
          </p:cNvPr>
          <p:cNvPicPr>
            <a:picLocks noChangeAspect="1"/>
          </p:cNvPicPr>
          <p:nvPr/>
        </p:nvPicPr>
        <p:blipFill rotWithShape="1">
          <a:blip r:embed="rId4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52375" y="2524549"/>
            <a:ext cx="841400" cy="510171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93FA2F1E-B8A8-D94D-B3C2-0F2E9D343B8F}"/>
              </a:ext>
            </a:extLst>
          </p:cNvPr>
          <p:cNvPicPr>
            <a:picLocks noChangeAspect="1"/>
          </p:cNvPicPr>
          <p:nvPr/>
        </p:nvPicPr>
        <p:blipFill>
          <a:blip r:embed="rId4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9263" y="3836149"/>
            <a:ext cx="1380580" cy="345145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CB70CA6-009E-9D46-A791-CF8C69DEADF8}"/>
              </a:ext>
            </a:extLst>
          </p:cNvPr>
          <p:cNvPicPr>
            <a:picLocks noChangeAspect="1"/>
          </p:cNvPicPr>
          <p:nvPr/>
        </p:nvPicPr>
        <p:blipFill>
          <a:blip r:embed="rId4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91597" y="3846643"/>
            <a:ext cx="1042215" cy="38228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DFF1EFFB-4C9D-EA4A-AC16-D8B4F3CFCF52}"/>
              </a:ext>
            </a:extLst>
          </p:cNvPr>
          <p:cNvPicPr>
            <a:picLocks noChangeAspect="1"/>
          </p:cNvPicPr>
          <p:nvPr/>
        </p:nvPicPr>
        <p:blipFill rotWithShape="1">
          <a:blip r:embed="rId4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8871" y="5001290"/>
            <a:ext cx="846244" cy="48487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780027A1-6840-4E4C-9CA9-D44CDB20319B}"/>
              </a:ext>
            </a:extLst>
          </p:cNvPr>
          <p:cNvPicPr>
            <a:picLocks noChangeAspect="1"/>
          </p:cNvPicPr>
          <p:nvPr/>
        </p:nvPicPr>
        <p:blipFill>
          <a:blip r:embed="rId4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501" y="1675882"/>
            <a:ext cx="993183" cy="99318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C3B4D8D1-0AE9-3547-96A2-26169B7B4569}"/>
              </a:ext>
            </a:extLst>
          </p:cNvPr>
          <p:cNvPicPr>
            <a:picLocks noChangeAspect="1"/>
          </p:cNvPicPr>
          <p:nvPr/>
        </p:nvPicPr>
        <p:blipFill>
          <a:blip r:embed="rId4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21877" y="1893921"/>
            <a:ext cx="1002448" cy="56568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0B9A939D-658C-C249-AA67-16F5C12CF6F9}"/>
              </a:ext>
            </a:extLst>
          </p:cNvPr>
          <p:cNvPicPr>
            <a:picLocks noChangeAspect="1"/>
          </p:cNvPicPr>
          <p:nvPr/>
        </p:nvPicPr>
        <p:blipFill rotWithShape="1"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89882" y="5703367"/>
            <a:ext cx="1097280" cy="353207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021428F-2E3A-0146-BB2A-28EA37FE38BE}"/>
              </a:ext>
            </a:extLst>
          </p:cNvPr>
          <p:cNvPicPr>
            <a:picLocks noChangeAspect="1"/>
          </p:cNvPicPr>
          <p:nvPr/>
        </p:nvPicPr>
        <p:blipFill rotWithShape="1">
          <a:blip r:embed="rId5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20422" y="2025697"/>
            <a:ext cx="1032582" cy="325854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47536CA8-AD91-504B-BC85-41859D2E9DDE}"/>
              </a:ext>
            </a:extLst>
          </p:cNvPr>
          <p:cNvPicPr>
            <a:picLocks noChangeAspect="1"/>
          </p:cNvPicPr>
          <p:nvPr/>
        </p:nvPicPr>
        <p:blipFill rotWithShape="1">
          <a:blip r:embed="rId5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11042" y="3810640"/>
            <a:ext cx="850111" cy="406184"/>
          </a:xfrm>
          <a:prstGeom prst="rect">
            <a:avLst/>
          </a:prstGeom>
        </p:spPr>
      </p:pic>
      <p:pic>
        <p:nvPicPr>
          <p:cNvPr id="68" name="Picture 67">
            <a:extLst>
              <a:ext uri="{FF2B5EF4-FFF2-40B4-BE49-F238E27FC236}">
                <a16:creationId xmlns:a16="http://schemas.microsoft.com/office/drawing/2014/main" id="{CF40510F-13F3-FB4A-86CC-A6C32AE6A4FC}"/>
              </a:ext>
            </a:extLst>
          </p:cNvPr>
          <p:cNvPicPr>
            <a:picLocks noChangeAspect="1"/>
          </p:cNvPicPr>
          <p:nvPr/>
        </p:nvPicPr>
        <p:blipFill>
          <a:blip r:embed="rId5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9873" y="4315120"/>
            <a:ext cx="758641" cy="658647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9C34691D-1C0F-0642-836B-E784B0CEB3CC}"/>
              </a:ext>
            </a:extLst>
          </p:cNvPr>
          <p:cNvPicPr>
            <a:picLocks noChangeAspect="1"/>
          </p:cNvPicPr>
          <p:nvPr/>
        </p:nvPicPr>
        <p:blipFill>
          <a:blip r:embed="rId5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8505" y="5628834"/>
            <a:ext cx="744411" cy="459302"/>
          </a:xfrm>
          <a:prstGeom prst="rect">
            <a:avLst/>
          </a:prstGeom>
        </p:spPr>
      </p:pic>
      <p:pic>
        <p:nvPicPr>
          <p:cNvPr id="88" name="Picture 87">
            <a:extLst>
              <a:ext uri="{FF2B5EF4-FFF2-40B4-BE49-F238E27FC236}">
                <a16:creationId xmlns:a16="http://schemas.microsoft.com/office/drawing/2014/main" id="{2530308F-6BE0-744C-A6A7-D66409E4AA23}"/>
              </a:ext>
            </a:extLst>
          </p:cNvPr>
          <p:cNvPicPr>
            <a:picLocks noChangeAspect="1"/>
          </p:cNvPicPr>
          <p:nvPr/>
        </p:nvPicPr>
        <p:blipFill>
          <a:blip r:embed="rId5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9866" y="3148707"/>
            <a:ext cx="1008678" cy="542852"/>
          </a:xfrm>
          <a:prstGeom prst="rect">
            <a:avLst/>
          </a:prstGeom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69852ED7-6EC0-754A-A660-1C74D9800F8F}"/>
              </a:ext>
            </a:extLst>
          </p:cNvPr>
          <p:cNvPicPr>
            <a:picLocks noChangeAspect="1"/>
          </p:cNvPicPr>
          <p:nvPr/>
        </p:nvPicPr>
        <p:blipFill>
          <a:blip r:embed="rId5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21934" y="5706841"/>
            <a:ext cx="1041646" cy="335445"/>
          </a:xfrm>
          <a:prstGeom prst="rect">
            <a:avLst/>
          </a:prstGeom>
        </p:spPr>
      </p:pic>
      <p:pic>
        <p:nvPicPr>
          <p:cNvPr id="101" name="Picture 100">
            <a:extLst>
              <a:ext uri="{FF2B5EF4-FFF2-40B4-BE49-F238E27FC236}">
                <a16:creationId xmlns:a16="http://schemas.microsoft.com/office/drawing/2014/main" id="{1C7BAA28-EA08-3C4E-9C2F-0EDFCAB3E106}"/>
              </a:ext>
            </a:extLst>
          </p:cNvPr>
          <p:cNvPicPr>
            <a:picLocks noChangeAspect="1"/>
          </p:cNvPicPr>
          <p:nvPr/>
        </p:nvPicPr>
        <p:blipFill>
          <a:blip r:embed="rId5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18898" y="3173635"/>
            <a:ext cx="475357" cy="47535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D3A2C71A-2662-754A-AE5B-07735B7C2A4B}"/>
              </a:ext>
            </a:extLst>
          </p:cNvPr>
          <p:cNvPicPr>
            <a:picLocks noChangeAspect="1"/>
          </p:cNvPicPr>
          <p:nvPr/>
        </p:nvPicPr>
        <p:blipFill>
          <a:blip r:embed="rId5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7250" y="3774040"/>
            <a:ext cx="873239" cy="52394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E416F4EA-50BB-6449-8E77-9A313BFEFC54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63017" y="5024804"/>
            <a:ext cx="835272" cy="435581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3A0CEECB-9C57-A343-B084-C553FD165CA8}"/>
              </a:ext>
            </a:extLst>
          </p:cNvPr>
          <p:cNvPicPr>
            <a:picLocks noChangeAspect="1"/>
          </p:cNvPicPr>
          <p:nvPr/>
        </p:nvPicPr>
        <p:blipFill>
          <a:blip r:embed="rId6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22277" y="3520011"/>
            <a:ext cx="152475" cy="1620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EE65B3C9-0EF7-DD42-A780-303A6F1CF0C5}"/>
              </a:ext>
            </a:extLst>
          </p:cNvPr>
          <p:cNvPicPr>
            <a:picLocks noChangeAspect="1"/>
          </p:cNvPicPr>
          <p:nvPr/>
        </p:nvPicPr>
        <p:blipFill>
          <a:blip r:embed="rId6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69365" y="5670425"/>
            <a:ext cx="1195431" cy="4303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0BED63E-E1FF-3B48-9005-23AD91F11A66}"/>
              </a:ext>
            </a:extLst>
          </p:cNvPr>
          <p:cNvPicPr>
            <a:picLocks noChangeAspect="1"/>
          </p:cNvPicPr>
          <p:nvPr/>
        </p:nvPicPr>
        <p:blipFill>
          <a:blip r:embed="rId6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350" y="2524114"/>
            <a:ext cx="620303" cy="517436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90CEB8E6-16D3-014D-B4D2-0E3F5E5C1821}"/>
              </a:ext>
            </a:extLst>
          </p:cNvPr>
          <p:cNvPicPr>
            <a:picLocks noChangeAspect="1"/>
          </p:cNvPicPr>
          <p:nvPr/>
        </p:nvPicPr>
        <p:blipFill>
          <a:blip r:embed="rId6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78824" y="1905793"/>
            <a:ext cx="1186338" cy="593169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A389A4D3-05A2-0545-8159-94B2AB190B0A}"/>
              </a:ext>
            </a:extLst>
          </p:cNvPr>
          <p:cNvPicPr>
            <a:picLocks noChangeAspect="1"/>
          </p:cNvPicPr>
          <p:nvPr/>
        </p:nvPicPr>
        <p:blipFill>
          <a:blip r:embed="rId6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593" y="4989735"/>
            <a:ext cx="515040" cy="51504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3B85ACAD-2497-3848-A814-501ADCC58236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5556" y="5667393"/>
            <a:ext cx="1006155" cy="402462"/>
          </a:xfrm>
          <a:prstGeom prst="rect">
            <a:avLst/>
          </a:prstGeom>
        </p:spPr>
      </p:pic>
      <p:pic>
        <p:nvPicPr>
          <p:cNvPr id="107" name="Picture 106">
            <a:extLst>
              <a:ext uri="{FF2B5EF4-FFF2-40B4-BE49-F238E27FC236}">
                <a16:creationId xmlns:a16="http://schemas.microsoft.com/office/drawing/2014/main" id="{3F429221-D344-C748-AC89-7EBBDF0BCBE5}"/>
              </a:ext>
            </a:extLst>
          </p:cNvPr>
          <p:cNvPicPr>
            <a:picLocks noChangeAspect="1"/>
          </p:cNvPicPr>
          <p:nvPr/>
        </p:nvPicPr>
        <p:blipFill>
          <a:blip r:embed="rId6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91997" y="5656152"/>
            <a:ext cx="1056185" cy="400422"/>
          </a:xfrm>
          <a:prstGeom prst="rect">
            <a:avLst/>
          </a:prstGeom>
        </p:spPr>
      </p:pic>
      <p:pic>
        <p:nvPicPr>
          <p:cNvPr id="11266" name="Picture 2">
            <a:extLst>
              <a:ext uri="{FF2B5EF4-FFF2-40B4-BE49-F238E27FC236}">
                <a16:creationId xmlns:a16="http://schemas.microsoft.com/office/drawing/2014/main" id="{EF60FE0E-7AE9-AE44-81F9-FA8B7005D5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03577" y="2546600"/>
            <a:ext cx="737093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68" name="Picture 4">
            <a:extLst>
              <a:ext uri="{FF2B5EF4-FFF2-40B4-BE49-F238E27FC236}">
                <a16:creationId xmlns:a16="http://schemas.microsoft.com/office/drawing/2014/main" id="{621A01DC-3A4A-CD41-9E23-2331ADDDF9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3842" y="2537076"/>
            <a:ext cx="634340" cy="5074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0" name="Picture 6">
            <a:extLst>
              <a:ext uri="{FF2B5EF4-FFF2-40B4-BE49-F238E27FC236}">
                <a16:creationId xmlns:a16="http://schemas.microsoft.com/office/drawing/2014/main" id="{E111FCCC-428B-6840-B6EB-8235BF578B8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 bwMode="auto">
          <a:xfrm>
            <a:off x="10590059" y="2549279"/>
            <a:ext cx="854837" cy="4923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2" name="Picture 8">
            <a:extLst>
              <a:ext uri="{FF2B5EF4-FFF2-40B4-BE49-F238E27FC236}">
                <a16:creationId xmlns:a16="http://schemas.microsoft.com/office/drawing/2014/main" id="{A699D78B-4E09-7046-9B26-9FBD69EC6A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6208" b="13387"/>
          <a:stretch/>
        </p:blipFill>
        <p:spPr bwMode="auto">
          <a:xfrm>
            <a:off x="9389493" y="3810500"/>
            <a:ext cx="814017" cy="45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4" name="Picture 10">
            <a:extLst>
              <a:ext uri="{FF2B5EF4-FFF2-40B4-BE49-F238E27FC236}">
                <a16:creationId xmlns:a16="http://schemas.microsoft.com/office/drawing/2014/main" id="{170AB1D0-870F-A341-BA7A-A42380AD2B2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2001" r="64650" b="31998"/>
          <a:stretch/>
        </p:blipFill>
        <p:spPr bwMode="auto">
          <a:xfrm>
            <a:off x="944738" y="3171356"/>
            <a:ext cx="620302" cy="5053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6" name="Picture 12">
            <a:extLst>
              <a:ext uri="{FF2B5EF4-FFF2-40B4-BE49-F238E27FC236}">
                <a16:creationId xmlns:a16="http://schemas.microsoft.com/office/drawing/2014/main" id="{323D90E9-1AA3-354F-A159-723A4873B61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7144" b="37141"/>
          <a:stretch/>
        </p:blipFill>
        <p:spPr bwMode="auto">
          <a:xfrm>
            <a:off x="6859125" y="3301201"/>
            <a:ext cx="1010521" cy="20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78" name="Picture 14">
            <a:extLst>
              <a:ext uri="{FF2B5EF4-FFF2-40B4-BE49-F238E27FC236}">
                <a16:creationId xmlns:a16="http://schemas.microsoft.com/office/drawing/2014/main" id="{CB24DAA7-334C-2043-8FAD-6BA4C4AE3B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92608" y="4401985"/>
            <a:ext cx="606099" cy="4848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280" name="Picture 16">
            <a:extLst>
              <a:ext uri="{FF2B5EF4-FFF2-40B4-BE49-F238E27FC236}">
                <a16:creationId xmlns:a16="http://schemas.microsoft.com/office/drawing/2014/main" id="{688009B2-DF5E-9C46-92D8-7656C21DC0B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33386" y="3217808"/>
            <a:ext cx="994016" cy="3680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74B8CFE9-FC83-A942-9506-19FE3AAAEA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27022" r="6340" b="26823"/>
          <a:stretch/>
        </p:blipFill>
        <p:spPr bwMode="auto">
          <a:xfrm>
            <a:off x="1938940" y="5602892"/>
            <a:ext cx="109728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0293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41AD20-EEF3-FA45-8536-D4C573380C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70469" y="492197"/>
            <a:ext cx="10320830" cy="887949"/>
          </a:xfrm>
        </p:spPr>
        <p:txBody>
          <a:bodyPr>
            <a:noAutofit/>
          </a:bodyPr>
          <a:lstStyle/>
          <a:p>
            <a:r>
              <a:rPr lang="en-US" sz="3200" dirty="0"/>
              <a:t>MMA Mission: </a:t>
            </a:r>
            <a:r>
              <a:rPr lang="en-US" sz="3200" b="0" dirty="0"/>
              <a:t>Architecting the Future of Marketing While Relentlessly Delivering Growth Today!</a:t>
            </a:r>
            <a:br>
              <a:rPr lang="en-US" sz="3200" dirty="0"/>
            </a:br>
            <a:endParaRPr lang="en-US" sz="32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F51748-90D4-E740-8570-7AC811FE484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0336" y="1844490"/>
            <a:ext cx="9561095" cy="4443770"/>
          </a:xfrm>
        </p:spPr>
        <p:txBody>
          <a:bodyPr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At the MMA, we believe the best way to </a:t>
            </a:r>
            <a:r>
              <a:rPr lang="en-US" b="1" dirty="0"/>
              <a:t>thrive</a:t>
            </a:r>
            <a:r>
              <a:rPr lang="en-US" sz="2000" b="1" dirty="0"/>
              <a:t> </a:t>
            </a:r>
            <a:r>
              <a:rPr lang="en-US" sz="2000" dirty="0"/>
              <a:t>—and the only way to</a:t>
            </a:r>
            <a:br>
              <a:rPr lang="en-US" sz="2000" dirty="0"/>
            </a:br>
            <a:r>
              <a:rPr lang="en-US" sz="2000" b="1" dirty="0"/>
              <a:t>survive</a:t>
            </a:r>
            <a:r>
              <a:rPr lang="en-US" sz="2000" dirty="0"/>
              <a:t> — is to capture this </a:t>
            </a:r>
            <a:r>
              <a:rPr lang="en-US" b="1" dirty="0"/>
              <a:t>zeitgeist</a:t>
            </a:r>
            <a:r>
              <a:rPr lang="en-US" sz="2000" dirty="0"/>
              <a:t> </a:t>
            </a:r>
            <a:r>
              <a:rPr lang="en-US" sz="2000" b="1" dirty="0"/>
              <a:t>NOW</a:t>
            </a:r>
            <a:r>
              <a:rPr lang="en-US" sz="2000" dirty="0"/>
              <a:t> by </a:t>
            </a:r>
            <a:r>
              <a:rPr lang="en-US" sz="2400" b="1" dirty="0"/>
              <a:t>aggressively</a:t>
            </a:r>
            <a:r>
              <a:rPr lang="en-US" sz="2000" dirty="0"/>
              <a:t> adopting proven, </a:t>
            </a:r>
            <a:r>
              <a:rPr lang="en-US" sz="2000" b="1" dirty="0"/>
              <a:t>peer-driven</a:t>
            </a:r>
            <a:r>
              <a:rPr lang="en-US" sz="2000" dirty="0"/>
              <a:t> and </a:t>
            </a:r>
            <a:r>
              <a:rPr lang="en-US" sz="3600" b="1" dirty="0"/>
              <a:t>scientific</a:t>
            </a:r>
            <a:r>
              <a:rPr lang="en-US" sz="2000" b="1" dirty="0"/>
              <a:t> best practices</a:t>
            </a:r>
            <a:r>
              <a:rPr lang="en-US" sz="2000" dirty="0"/>
              <a:t>, without compromise.</a:t>
            </a:r>
            <a:r>
              <a:rPr lang="en-US" sz="1050" dirty="0"/>
              <a:t>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endParaRPr lang="en-US" sz="1050" dirty="0"/>
          </a:p>
          <a:p>
            <a:pPr algn="ctr">
              <a:lnSpc>
                <a:spcPct val="100000"/>
              </a:lnSpc>
              <a:spcBef>
                <a:spcPts val="0"/>
              </a:spcBef>
              <a:buSzPct val="100000"/>
            </a:pPr>
            <a:endParaRPr lang="en-US" sz="1050" dirty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In all that we do, we are committed to bringing the right</a:t>
            </a:r>
            <a:r>
              <a:rPr lang="en-US" sz="2000" b="1" dirty="0"/>
              <a:t> </a:t>
            </a:r>
            <a:r>
              <a:rPr lang="en-US" sz="2400" b="1" dirty="0"/>
              <a:t>people together</a:t>
            </a:r>
            <a:r>
              <a:rPr lang="en-US" sz="2400" dirty="0"/>
              <a:t> </a:t>
            </a:r>
            <a:r>
              <a:rPr lang="en-US" sz="2000" dirty="0"/>
              <a:t>to </a:t>
            </a:r>
            <a:r>
              <a:rPr lang="en-US" sz="2000" b="1" dirty="0"/>
              <a:t>challenge</a:t>
            </a:r>
            <a:r>
              <a:rPr lang="en-US" sz="2000" dirty="0"/>
              <a:t> the status quo and provide a </a:t>
            </a:r>
            <a:r>
              <a:rPr lang="en-US" sz="2000" b="1" dirty="0"/>
              <a:t>path forward</a:t>
            </a:r>
            <a:r>
              <a:rPr lang="en-US" sz="2000" dirty="0"/>
              <a:t>.  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endParaRPr lang="en-US" sz="2000" dirty="0"/>
          </a:p>
          <a:p>
            <a:pPr algn="ctr">
              <a:lnSpc>
                <a:spcPct val="100000"/>
              </a:lnSpc>
              <a:spcBef>
                <a:spcPts val="0"/>
              </a:spcBef>
              <a:buSzPct val="100000"/>
            </a:pPr>
            <a:endParaRPr lang="en-US" sz="1100" dirty="0"/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SzPct val="100000"/>
              <a:buNone/>
            </a:pPr>
            <a:r>
              <a:rPr lang="en-US" sz="2000" dirty="0"/>
              <a:t>We </a:t>
            </a:r>
            <a:r>
              <a:rPr lang="en-US" b="1" dirty="0"/>
              <a:t>invest millions </a:t>
            </a:r>
            <a:r>
              <a:rPr lang="en-US" sz="2000" dirty="0"/>
              <a:t>of dollars in </a:t>
            </a:r>
            <a:r>
              <a:rPr lang="en-US" sz="2000" b="1" dirty="0"/>
              <a:t>rigorous research </a:t>
            </a:r>
            <a:r>
              <a:rPr lang="en-US" sz="2000" dirty="0"/>
              <a:t>to arm marketers with unassailable </a:t>
            </a:r>
            <a:r>
              <a:rPr lang="en-US" sz="3600" b="1" dirty="0"/>
              <a:t>truths</a:t>
            </a:r>
            <a:r>
              <a:rPr lang="en-US" sz="2000" dirty="0"/>
              <a:t> and actionable </a:t>
            </a:r>
            <a:r>
              <a:rPr lang="en-US" sz="2400" b="1" dirty="0"/>
              <a:t>tools</a:t>
            </a:r>
            <a:r>
              <a:rPr lang="en-US" sz="2000" dirty="0"/>
              <a:t>.</a:t>
            </a:r>
          </a:p>
          <a:p>
            <a:pPr marL="230188" indent="-230188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br>
              <a:rPr lang="en-US" sz="1300" dirty="0"/>
            </a:br>
            <a:br>
              <a:rPr lang="en-US" sz="1300" dirty="0"/>
            </a:br>
            <a:br>
              <a:rPr lang="en-US" sz="1300" dirty="0"/>
            </a:br>
            <a:endParaRPr lang="en-US" sz="1300" dirty="0"/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br>
              <a:rPr lang="en-US" sz="1300" dirty="0"/>
            </a:br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val="20287378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72326E6A-5FBE-40C7-826F-EEC23C3066B9}"/>
              </a:ext>
            </a:extLst>
          </p:cNvPr>
          <p:cNvCxnSpPr/>
          <p:nvPr/>
        </p:nvCxnSpPr>
        <p:spPr>
          <a:xfrm>
            <a:off x="211017" y="6651779"/>
            <a:ext cx="3018423" cy="0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A picture containing bird&#10;&#10;Description automatically generated">
            <a:extLst>
              <a:ext uri="{FF2B5EF4-FFF2-40B4-BE49-F238E27FC236}">
                <a16:creationId xmlns:a16="http://schemas.microsoft.com/office/drawing/2014/main" id="{BB69416E-FCBF-47C9-BD74-88E69C5AEAA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-27497"/>
            <a:ext cx="12192000" cy="1822430"/>
          </a:xfrm>
          <a:prstGeom prst="rect">
            <a:avLst/>
          </a:prstGeom>
        </p:spPr>
      </p:pic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DE52CD07-1D6E-450C-B14D-206BCE18B8C1}"/>
              </a:ext>
            </a:extLst>
          </p:cNvPr>
          <p:cNvSpPr txBox="1">
            <a:spLocks/>
          </p:cNvSpPr>
          <p:nvPr/>
        </p:nvSpPr>
        <p:spPr>
          <a:xfrm>
            <a:off x="73483" y="1906494"/>
            <a:ext cx="8677664" cy="466437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new marketing growth framework that has been </a:t>
            </a:r>
            <a:r>
              <a:rPr lang="en-GB" sz="2200" b="1" dirty="0">
                <a:solidFill>
                  <a:srgbClr val="002060"/>
                </a:solidFill>
              </a:rPr>
              <a:t>scientifically validated to outperform reach-based planning </a:t>
            </a:r>
            <a:r>
              <a:rPr lang="en-GB" sz="2200" b="1" u="sng" dirty="0">
                <a:solidFill>
                  <a:srgbClr val="002060"/>
                </a:solidFill>
              </a:rPr>
              <a:t>by more than 50%</a:t>
            </a: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endParaRPr lang="en-GB" sz="200" dirty="0">
              <a:solidFill>
                <a:srgbClr val="002060"/>
              </a:solidFill>
            </a:endParaRP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</a:t>
            </a:r>
            <a:r>
              <a:rPr lang="en-GB" sz="2200" b="1" dirty="0">
                <a:solidFill>
                  <a:srgbClr val="002060"/>
                </a:solidFill>
              </a:rPr>
              <a:t>practical</a:t>
            </a:r>
            <a:r>
              <a:rPr lang="en-GB" sz="2200" dirty="0">
                <a:solidFill>
                  <a:srgbClr val="002060"/>
                </a:solidFill>
              </a:rPr>
              <a:t> approach to identify, quantify and </a:t>
            </a:r>
            <a:r>
              <a:rPr lang="en-GB" sz="2200" b="1" dirty="0">
                <a:solidFill>
                  <a:srgbClr val="002060"/>
                </a:solidFill>
              </a:rPr>
              <a:t>target the most responsive audience</a:t>
            </a:r>
            <a:r>
              <a:rPr lang="en-GB" sz="2200" dirty="0">
                <a:solidFill>
                  <a:srgbClr val="002060"/>
                </a:solidFill>
              </a:rPr>
              <a:t> for any brand</a:t>
            </a: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endParaRPr lang="en-GB" sz="200" dirty="0">
              <a:solidFill>
                <a:srgbClr val="002060"/>
              </a:solidFill>
            </a:endParaRPr>
          </a:p>
          <a:p>
            <a:pPr marL="230188" lvl="1" indent="-230188">
              <a:lnSpc>
                <a:spcPct val="100000"/>
              </a:lnSpc>
              <a:spcBef>
                <a:spcPts val="600"/>
              </a:spcBef>
            </a:pPr>
            <a:r>
              <a:rPr lang="en-GB" sz="2200" dirty="0">
                <a:solidFill>
                  <a:srgbClr val="002060"/>
                </a:solidFill>
              </a:rPr>
              <a:t>A </a:t>
            </a:r>
            <a:r>
              <a:rPr lang="en-GB" sz="2200" b="1" dirty="0">
                <a:solidFill>
                  <a:srgbClr val="002060"/>
                </a:solidFill>
              </a:rPr>
              <a:t>profitable strategy to win over non-buyers </a:t>
            </a:r>
            <a:r>
              <a:rPr lang="en-GB" sz="2200" dirty="0">
                <a:solidFill>
                  <a:srgbClr val="002060"/>
                </a:solidFill>
              </a:rPr>
              <a:t>who are more likely to respond and build for the future of the brand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B3E4C7A-6F44-4FFD-A216-EA2549728949}"/>
              </a:ext>
            </a:extLst>
          </p:cNvPr>
          <p:cNvSpPr/>
          <p:nvPr/>
        </p:nvSpPr>
        <p:spPr>
          <a:xfrm>
            <a:off x="0" y="-30669"/>
            <a:ext cx="12191991" cy="1161816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5" name="Picture 14" descr="A picture containing dark, sitting, black, red&#10;&#10;Description automatically generated">
            <a:extLst>
              <a:ext uri="{FF2B5EF4-FFF2-40B4-BE49-F238E27FC236}">
                <a16:creationId xmlns:a16="http://schemas.microsoft.com/office/drawing/2014/main" id="{F8CA362C-A015-4622-BB28-5D8D24251D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3536" y="94832"/>
            <a:ext cx="1819744" cy="910814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8F49A03-8051-4731-BBC3-727B84E82AE6}"/>
              </a:ext>
            </a:extLst>
          </p:cNvPr>
          <p:cNvSpPr txBox="1"/>
          <p:nvPr/>
        </p:nvSpPr>
        <p:spPr>
          <a:xfrm>
            <a:off x="2113280" y="288629"/>
            <a:ext cx="7321973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3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utcome-Based Marketing 2.0 (OBM2)</a:t>
            </a:r>
            <a:endParaRPr kumimoji="0" lang="en-PH" sz="340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1D742E-D5B8-4FB4-81C6-4FA92C6F812C}"/>
              </a:ext>
            </a:extLst>
          </p:cNvPr>
          <p:cNvSpPr txBox="1"/>
          <p:nvPr/>
        </p:nvSpPr>
        <p:spPr>
          <a:xfrm>
            <a:off x="161535" y="1199443"/>
            <a:ext cx="9436277" cy="52322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PH" sz="3400" b="1" i="0" u="none" strike="noStrike" kern="1200" cap="none" spc="0" normalizeH="0" baseline="0" noProof="0" dirty="0">
                <a:ln>
                  <a:noFill/>
                </a:ln>
                <a:solidFill>
                  <a:srgbClr val="432F9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fitable Growth by Targeting The Movable Middle</a:t>
            </a:r>
            <a:endParaRPr kumimoji="0" lang="en-PH" sz="3400" i="0" u="none" strike="noStrike" kern="1200" cap="none" spc="0" normalizeH="0" baseline="0" noProof="0" dirty="0">
              <a:ln>
                <a:noFill/>
              </a:ln>
              <a:solidFill>
                <a:srgbClr val="432F9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8DB8A769-005D-4004-B4D4-25C50C75837F}"/>
              </a:ext>
            </a:extLst>
          </p:cNvPr>
          <p:cNvSpPr/>
          <p:nvPr/>
        </p:nvSpPr>
        <p:spPr>
          <a:xfrm>
            <a:off x="293536" y="4674632"/>
            <a:ext cx="4007531" cy="1040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28EF882-CE28-481A-8FF1-7DE113F60838}"/>
              </a:ext>
            </a:extLst>
          </p:cNvPr>
          <p:cNvSpPr/>
          <p:nvPr/>
        </p:nvSpPr>
        <p:spPr>
          <a:xfrm>
            <a:off x="4578773" y="4674631"/>
            <a:ext cx="4007531" cy="1040413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80F4BA9-C4A5-4B3D-B48F-D95481AD19CB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1485" y="4475465"/>
            <a:ext cx="1369748" cy="136974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5DA73551-CCF6-498F-9C45-0747D5274BA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3536" y="4672512"/>
            <a:ext cx="1040413" cy="1040413"/>
          </a:xfrm>
          <a:prstGeom prst="rect">
            <a:avLst/>
          </a:prstGeom>
        </p:spPr>
      </p:pic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F3FE4DE-D220-41BF-AB3D-3A53F0C60BB1}"/>
              </a:ext>
            </a:extLst>
          </p:cNvPr>
          <p:cNvSpPr txBox="1">
            <a:spLocks/>
          </p:cNvSpPr>
          <p:nvPr/>
        </p:nvSpPr>
        <p:spPr>
          <a:xfrm>
            <a:off x="1203408" y="4721954"/>
            <a:ext cx="3097659" cy="9551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000" b="1" dirty="0">
                <a:solidFill>
                  <a:srgbClr val="002060"/>
                </a:solidFill>
              </a:rPr>
              <a:t>Learn More &amp; Download Whitepaper*</a:t>
            </a:r>
            <a:br>
              <a:rPr lang="en-GB" sz="2000" b="1" dirty="0">
                <a:solidFill>
                  <a:srgbClr val="002060"/>
                </a:solidFill>
              </a:rPr>
            </a:br>
            <a:r>
              <a:rPr lang="en-GB" sz="2000" dirty="0">
                <a:solidFill>
                  <a:srgbClr val="002060"/>
                </a:solidFill>
              </a:rPr>
              <a:t>mmaglobal.com/OBM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E543F22-2F2A-408D-B0AF-39AA57F9CB68}"/>
              </a:ext>
            </a:extLst>
          </p:cNvPr>
          <p:cNvSpPr txBox="1">
            <a:spLocks/>
          </p:cNvSpPr>
          <p:nvPr/>
        </p:nvSpPr>
        <p:spPr>
          <a:xfrm>
            <a:off x="5627499" y="4715153"/>
            <a:ext cx="2958806" cy="9551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GB" sz="2000" b="1" dirty="0">
                <a:solidFill>
                  <a:srgbClr val="002060"/>
                </a:solidFill>
              </a:rPr>
              <a:t>Get Involved &amp; Join the OBM2 Community</a:t>
            </a:r>
            <a:br>
              <a:rPr lang="en-GB" sz="2000" b="1" dirty="0">
                <a:solidFill>
                  <a:srgbClr val="002060"/>
                </a:solidFill>
              </a:rPr>
            </a:br>
            <a:r>
              <a:rPr lang="en-GB" sz="2000" dirty="0">
                <a:solidFill>
                  <a:srgbClr val="002060"/>
                </a:solidFill>
              </a:rPr>
              <a:t>OBM@mmaglobal.com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AE30A099-DB05-4798-8751-404808C5BB9F}"/>
              </a:ext>
            </a:extLst>
          </p:cNvPr>
          <p:cNvSpPr txBox="1">
            <a:spLocks/>
          </p:cNvSpPr>
          <p:nvPr/>
        </p:nvSpPr>
        <p:spPr>
          <a:xfrm>
            <a:off x="796231" y="6467081"/>
            <a:ext cx="1847994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Academic Advisors</a:t>
            </a:r>
          </a:p>
        </p:txBody>
      </p:sp>
      <p:pic>
        <p:nvPicPr>
          <p:cNvPr id="44" name="Picture 43" descr="A picture containing food&#10;&#10;Description automatically generated">
            <a:extLst>
              <a:ext uri="{FF2B5EF4-FFF2-40B4-BE49-F238E27FC236}">
                <a16:creationId xmlns:a16="http://schemas.microsoft.com/office/drawing/2014/main" id="{E6F40927-F1A3-401E-9E46-A880AD0405E1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2999" y="6110170"/>
            <a:ext cx="1376257" cy="322437"/>
          </a:xfrm>
          <a:prstGeom prst="rect">
            <a:avLst/>
          </a:prstGeom>
        </p:spPr>
      </p:pic>
      <p:pic>
        <p:nvPicPr>
          <p:cNvPr id="42" name="Picture 41" descr="Logo&#10;&#10;Description automatically generated">
            <a:extLst>
              <a:ext uri="{FF2B5EF4-FFF2-40B4-BE49-F238E27FC236}">
                <a16:creationId xmlns:a16="http://schemas.microsoft.com/office/drawing/2014/main" id="{331EBFFD-731D-4F03-A09E-B118109D281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12589" y="5930505"/>
            <a:ext cx="708697" cy="583834"/>
          </a:xfrm>
          <a:prstGeom prst="rect">
            <a:avLst/>
          </a:prstGeom>
        </p:spPr>
      </p:pic>
      <p:pic>
        <p:nvPicPr>
          <p:cNvPr id="39" name="Picture 38" descr="Logo&#10;&#10;Description automatically generated">
            <a:extLst>
              <a:ext uri="{FF2B5EF4-FFF2-40B4-BE49-F238E27FC236}">
                <a16:creationId xmlns:a16="http://schemas.microsoft.com/office/drawing/2014/main" id="{2DE24DCB-7A33-470B-A468-56B71C7C1B4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2455" y="5994173"/>
            <a:ext cx="1595402" cy="368310"/>
          </a:xfrm>
          <a:prstGeom prst="rect">
            <a:avLst/>
          </a:prstGeom>
        </p:spPr>
      </p:pic>
      <p:pic>
        <p:nvPicPr>
          <p:cNvPr id="36" name="Picture 35" descr="A picture containing logo&#10;&#10;Description automatically generated">
            <a:extLst>
              <a:ext uri="{FF2B5EF4-FFF2-40B4-BE49-F238E27FC236}">
                <a16:creationId xmlns:a16="http://schemas.microsoft.com/office/drawing/2014/main" id="{7C4E1F05-9159-45B7-A780-4A88EB084350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22099" y="6088905"/>
            <a:ext cx="1484863" cy="378176"/>
          </a:xfrm>
          <a:prstGeom prst="rect">
            <a:avLst/>
          </a:prstGeom>
        </p:spPr>
      </p:pic>
      <p:pic>
        <p:nvPicPr>
          <p:cNvPr id="59" name="Picture 58" descr="Icon&#10;&#10;Description automatically generated">
            <a:extLst>
              <a:ext uri="{FF2B5EF4-FFF2-40B4-BE49-F238E27FC236}">
                <a16:creationId xmlns:a16="http://schemas.microsoft.com/office/drawing/2014/main" id="{0497C1D7-0D71-4E44-AFE4-B9DFEAF0B8FC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7152" y="5990704"/>
            <a:ext cx="1262382" cy="479416"/>
          </a:xfrm>
          <a:prstGeom prst="rect">
            <a:avLst/>
          </a:prstGeom>
        </p:spPr>
      </p:pic>
      <p:pic>
        <p:nvPicPr>
          <p:cNvPr id="56" name="Picture 55" descr="A picture containing logo&#10;&#10;Description automatically generated">
            <a:extLst>
              <a:ext uri="{FF2B5EF4-FFF2-40B4-BE49-F238E27FC236}">
                <a16:creationId xmlns:a16="http://schemas.microsoft.com/office/drawing/2014/main" id="{63CCEC71-0B9F-4CEE-ABCF-533D89A6CE6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46331" y="5929065"/>
            <a:ext cx="1804554" cy="602693"/>
          </a:xfrm>
          <a:prstGeom prst="rect">
            <a:avLst/>
          </a:prstGeom>
        </p:spPr>
      </p:pic>
      <p:pic>
        <p:nvPicPr>
          <p:cNvPr id="65" name="Picture 64" descr="Logo&#10;&#10;Description automatically generated">
            <a:extLst>
              <a:ext uri="{FF2B5EF4-FFF2-40B4-BE49-F238E27FC236}">
                <a16:creationId xmlns:a16="http://schemas.microsoft.com/office/drawing/2014/main" id="{AD2D89B9-073A-4C1B-AA96-F152B5869FB3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77445" y="5747492"/>
            <a:ext cx="1784230" cy="807277"/>
          </a:xfrm>
          <a:prstGeom prst="rect">
            <a:avLst/>
          </a:prstGeom>
        </p:spPr>
      </p:pic>
      <p:pic>
        <p:nvPicPr>
          <p:cNvPr id="13" name="Picture 12" descr="Logo&#10;&#10;Description automatically generated">
            <a:extLst>
              <a:ext uri="{FF2B5EF4-FFF2-40B4-BE49-F238E27FC236}">
                <a16:creationId xmlns:a16="http://schemas.microsoft.com/office/drawing/2014/main" id="{EF41A9DD-25B6-45D6-9E9F-162C1E42CC0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1943" b="27558"/>
          <a:stretch/>
        </p:blipFill>
        <p:spPr>
          <a:xfrm>
            <a:off x="9973585" y="226720"/>
            <a:ext cx="1819743" cy="736971"/>
          </a:xfrm>
          <a:prstGeom prst="rect">
            <a:avLst/>
          </a:prstGeom>
        </p:spPr>
      </p:pic>
      <p:cxnSp>
        <p:nvCxnSpPr>
          <p:cNvPr id="79" name="Straight Connector 78">
            <a:extLst>
              <a:ext uri="{FF2B5EF4-FFF2-40B4-BE49-F238E27FC236}">
                <a16:creationId xmlns:a16="http://schemas.microsoft.com/office/drawing/2014/main" id="{7749B427-A2A6-4060-8088-3E8C564E7191}"/>
              </a:ext>
            </a:extLst>
          </p:cNvPr>
          <p:cNvCxnSpPr>
            <a:cxnSpLocks/>
          </p:cNvCxnSpPr>
          <p:nvPr/>
        </p:nvCxnSpPr>
        <p:spPr>
          <a:xfrm>
            <a:off x="3432638" y="6651779"/>
            <a:ext cx="6205816" cy="9829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Content Placeholder 3">
            <a:extLst>
              <a:ext uri="{FF2B5EF4-FFF2-40B4-BE49-F238E27FC236}">
                <a16:creationId xmlns:a16="http://schemas.microsoft.com/office/drawing/2014/main" id="{5D8C211F-79F1-4B07-A0A4-48533708F5D7}"/>
              </a:ext>
            </a:extLst>
          </p:cNvPr>
          <p:cNvSpPr txBox="1">
            <a:spLocks/>
          </p:cNvSpPr>
          <p:nvPr/>
        </p:nvSpPr>
        <p:spPr>
          <a:xfrm>
            <a:off x="5599208" y="6468946"/>
            <a:ext cx="1760448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Marketer Advisors</a:t>
            </a:r>
          </a:p>
        </p:txBody>
      </p:sp>
      <p:cxnSp>
        <p:nvCxnSpPr>
          <p:cNvPr id="81" name="Straight Connector 80">
            <a:extLst>
              <a:ext uri="{FF2B5EF4-FFF2-40B4-BE49-F238E27FC236}">
                <a16:creationId xmlns:a16="http://schemas.microsoft.com/office/drawing/2014/main" id="{C7EFDFBF-C803-42E9-9D7A-2CD0D6148B93}"/>
              </a:ext>
            </a:extLst>
          </p:cNvPr>
          <p:cNvCxnSpPr>
            <a:cxnSpLocks/>
          </p:cNvCxnSpPr>
          <p:nvPr/>
        </p:nvCxnSpPr>
        <p:spPr>
          <a:xfrm>
            <a:off x="9850509" y="6658552"/>
            <a:ext cx="2080835" cy="0"/>
          </a:xfrm>
          <a:prstGeom prst="line">
            <a:avLst/>
          </a:prstGeom>
          <a:ln w="38100">
            <a:solidFill>
              <a:srgbClr val="873D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Content Placeholder 3">
            <a:extLst>
              <a:ext uri="{FF2B5EF4-FFF2-40B4-BE49-F238E27FC236}">
                <a16:creationId xmlns:a16="http://schemas.microsoft.com/office/drawing/2014/main" id="{4A763873-8C47-4A26-BB04-ADFD1CD994A6}"/>
              </a:ext>
            </a:extLst>
          </p:cNvPr>
          <p:cNvSpPr txBox="1">
            <a:spLocks/>
          </p:cNvSpPr>
          <p:nvPr/>
        </p:nvSpPr>
        <p:spPr>
          <a:xfrm>
            <a:off x="10234509" y="6462173"/>
            <a:ext cx="1295782" cy="3890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4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20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US" sz="1800" b="0" i="0" u="none" strike="noStrike" cap="none" dirty="0" smtClean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lang="en-IN" sz="1800" b="0" i="0" u="none" strike="noStrike" cap="none" dirty="0">
                <a:solidFill>
                  <a:schemeClr val="bg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546A"/>
              </a:buClr>
              <a:buSzTx/>
              <a:buFont typeface="Arial"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873D97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t>Data Partner</a:t>
            </a:r>
          </a:p>
        </p:txBody>
      </p:sp>
      <p:pic>
        <p:nvPicPr>
          <p:cNvPr id="3" name="Picture 2" descr="A picture containing text&#10;&#10;Description automatically generated">
            <a:extLst>
              <a:ext uri="{FF2B5EF4-FFF2-40B4-BE49-F238E27FC236}">
                <a16:creationId xmlns:a16="http://schemas.microsoft.com/office/drawing/2014/main" id="{E0F2C438-9C4D-4361-BD32-8514342CCDF1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06183" y="1906494"/>
            <a:ext cx="2982500" cy="3871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728570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50AC8F97-A526-4C31-BD9A-5D3C30FDC6B8}"/>
              </a:ext>
            </a:extLst>
          </p:cNvPr>
          <p:cNvSpPr/>
          <p:nvPr/>
        </p:nvSpPr>
        <p:spPr>
          <a:xfrm>
            <a:off x="-13" y="1203002"/>
            <a:ext cx="12185644" cy="5753383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endParaRPr lang="en-PH" sz="1799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21" name="Picture 20" descr="A picture containing bird&#10;&#10;Description automatically generated">
            <a:extLst>
              <a:ext uri="{FF2B5EF4-FFF2-40B4-BE49-F238E27FC236}">
                <a16:creationId xmlns:a16="http://schemas.microsoft.com/office/drawing/2014/main" id="{5218D03A-6410-4CCE-8C84-55F3E6E370E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67" t="21933" r="967" b="26480"/>
          <a:stretch/>
        </p:blipFill>
        <p:spPr>
          <a:xfrm>
            <a:off x="-13" y="6210"/>
            <a:ext cx="12185653" cy="1256613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98F49A03-8051-4731-BBC3-727B84E82AE6}"/>
              </a:ext>
            </a:extLst>
          </p:cNvPr>
          <p:cNvSpPr txBox="1"/>
          <p:nvPr/>
        </p:nvSpPr>
        <p:spPr>
          <a:xfrm>
            <a:off x="236696" y="354703"/>
            <a:ext cx="9431365" cy="5229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3398" b="1" dirty="0">
                <a:solidFill>
                  <a:srgbClr val="432F91"/>
                </a:solidFill>
                <a:latin typeface="Calibri" panose="020F0502020204030204"/>
              </a:rPr>
              <a:t>A Year’s Worth of Insights &amp; Education</a:t>
            </a:r>
            <a:endParaRPr lang="en-PH" sz="1399" dirty="0">
              <a:solidFill>
                <a:srgbClr val="432F91"/>
              </a:solidFill>
              <a:latin typeface="Calibri" panose="020F0502020204030204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082D3A9-5BA3-4CE0-9243-69F12DCD5241}"/>
              </a:ext>
            </a:extLst>
          </p:cNvPr>
          <p:cNvSpPr txBox="1"/>
          <p:nvPr/>
        </p:nvSpPr>
        <p:spPr>
          <a:xfrm>
            <a:off x="7647796" y="478690"/>
            <a:ext cx="4373096" cy="2460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1599" dirty="0">
                <a:solidFill>
                  <a:srgbClr val="432F91"/>
                </a:solidFill>
                <a:latin typeface="Calibri" panose="020F0502020204030204"/>
              </a:rPr>
              <a:t>Events designed to </a:t>
            </a:r>
            <a:r>
              <a:rPr lang="en-PH" sz="1599" b="1" dirty="0">
                <a:solidFill>
                  <a:srgbClr val="432F91"/>
                </a:solidFill>
                <a:latin typeface="Calibri" panose="020F0502020204030204"/>
              </a:rPr>
              <a:t>#ShapeTheFuture </a:t>
            </a:r>
            <a:r>
              <a:rPr lang="en-PH" sz="1599" dirty="0">
                <a:solidFill>
                  <a:srgbClr val="432F91"/>
                </a:solidFill>
                <a:latin typeface="Calibri" panose="020F0502020204030204"/>
              </a:rPr>
              <a:t>of marketing: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4FEBDAD-7BE4-43A0-84F3-0C8B1D0C5D68}"/>
              </a:ext>
            </a:extLst>
          </p:cNvPr>
          <p:cNvSpPr txBox="1"/>
          <p:nvPr/>
        </p:nvSpPr>
        <p:spPr>
          <a:xfrm>
            <a:off x="8187627" y="1730461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the future of attribution.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55E4404A-B0B7-4B36-AFDE-830FF2DC2E33}"/>
              </a:ext>
            </a:extLst>
          </p:cNvPr>
          <p:cNvCxnSpPr/>
          <p:nvPr/>
        </p:nvCxnSpPr>
        <p:spPr>
          <a:xfrm>
            <a:off x="406642" y="2368482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0041B383-3C83-4896-A1E5-06F2A0B8BCD6}"/>
              </a:ext>
            </a:extLst>
          </p:cNvPr>
          <p:cNvCxnSpPr/>
          <p:nvPr/>
        </p:nvCxnSpPr>
        <p:spPr>
          <a:xfrm>
            <a:off x="290012" y="3274062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94CDBF12-02FD-4464-ABF5-718855F33E32}"/>
              </a:ext>
            </a:extLst>
          </p:cNvPr>
          <p:cNvCxnSpPr/>
          <p:nvPr/>
        </p:nvCxnSpPr>
        <p:spPr>
          <a:xfrm>
            <a:off x="294435" y="4136559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TextBox 37">
            <a:extLst>
              <a:ext uri="{FF2B5EF4-FFF2-40B4-BE49-F238E27FC236}">
                <a16:creationId xmlns:a16="http://schemas.microsoft.com/office/drawing/2014/main" id="{52917F7F-D21D-461A-9A36-BEC9B5A55850}"/>
              </a:ext>
            </a:extLst>
          </p:cNvPr>
          <p:cNvSpPr txBox="1"/>
          <p:nvPr/>
        </p:nvSpPr>
        <p:spPr>
          <a:xfrm>
            <a:off x="8390974" y="3407212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An invitation-only intimate gathering of industry thought leaders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4F9F5EE-6146-4CE5-A14B-29B5F676AC5B}"/>
              </a:ext>
            </a:extLst>
          </p:cNvPr>
          <p:cNvSpPr txBox="1"/>
          <p:nvPr/>
        </p:nvSpPr>
        <p:spPr>
          <a:xfrm>
            <a:off x="8466398" y="4264214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Event for data geeks or wannabe marketing data geeks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EB1820FE-0D5D-41DF-B8E5-F98BEC44C0C5}"/>
              </a:ext>
            </a:extLst>
          </p:cNvPr>
          <p:cNvSpPr txBox="1"/>
          <p:nvPr/>
        </p:nvSpPr>
        <p:spPr>
          <a:xfrm>
            <a:off x="8390974" y="5094678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marketing organization insights and knowledge.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A142A625-5ED8-42C6-9363-2506FDB2568C}"/>
              </a:ext>
            </a:extLst>
          </p:cNvPr>
          <p:cNvCxnSpPr/>
          <p:nvPr/>
        </p:nvCxnSpPr>
        <p:spPr>
          <a:xfrm>
            <a:off x="361479" y="4968665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TextBox 47">
            <a:extLst>
              <a:ext uri="{FF2B5EF4-FFF2-40B4-BE49-F238E27FC236}">
                <a16:creationId xmlns:a16="http://schemas.microsoft.com/office/drawing/2014/main" id="{129A3EFD-166E-45D5-8987-36CA54D05619}"/>
              </a:ext>
            </a:extLst>
          </p:cNvPr>
          <p:cNvSpPr txBox="1"/>
          <p:nvPr/>
        </p:nvSpPr>
        <p:spPr>
          <a:xfrm>
            <a:off x="8390974" y="5957273"/>
            <a:ext cx="3304787" cy="4921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defRPr/>
            </a:pPr>
            <a:r>
              <a:rPr lang="en-PH" sz="1599" b="1" dirty="0">
                <a:solidFill>
                  <a:schemeClr val="bg1"/>
                </a:solidFill>
                <a:latin typeface="Calibri" panose="020F0502020204030204"/>
              </a:rPr>
              <a:t>Deep dive into the future of innovation &amp; creative effectiveness.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1EB47D9A-6E48-4757-B823-E05FB2EBB364}"/>
              </a:ext>
            </a:extLst>
          </p:cNvPr>
          <p:cNvSpPr txBox="1"/>
          <p:nvPr/>
        </p:nvSpPr>
        <p:spPr>
          <a:xfrm>
            <a:off x="8360380" y="723842"/>
            <a:ext cx="2615362" cy="3076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defRPr/>
            </a:pPr>
            <a:r>
              <a:rPr lang="en-PH" sz="1999" b="1" dirty="0">
                <a:solidFill>
                  <a:srgbClr val="432F91"/>
                </a:solidFill>
                <a:latin typeface="Calibri" panose="020F0502020204030204"/>
              </a:rPr>
              <a:t>mmaglobal.com/events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8568C54-99AA-2C47-9D60-2CA2CB409CA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22" y="1597145"/>
            <a:ext cx="6660463" cy="745888"/>
          </a:xfrm>
          <a:prstGeom prst="rect">
            <a:avLst/>
          </a:prstGeom>
        </p:spPr>
      </p:pic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C28DD0D4-107A-6E4E-93AB-36FB45AE6437}"/>
              </a:ext>
            </a:extLst>
          </p:cNvPr>
          <p:cNvCxnSpPr/>
          <p:nvPr/>
        </p:nvCxnSpPr>
        <p:spPr>
          <a:xfrm>
            <a:off x="429957" y="5858703"/>
            <a:ext cx="11393781" cy="0"/>
          </a:xfrm>
          <a:prstGeom prst="line">
            <a:avLst/>
          </a:prstGeom>
          <a:ln w="1270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625210B5-B166-774C-822B-97C5A979B52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78" y="2459735"/>
            <a:ext cx="7955349" cy="70692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4C55775-D14D-204D-8CE5-87DCD0B108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059" y="3295669"/>
            <a:ext cx="6275257" cy="752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E1BF463-0200-D043-8F1C-9DB33932F5B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278" y="4189197"/>
            <a:ext cx="6275258" cy="702749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3DE7D1C-BFB3-1947-84A6-D2851129761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322" y="4994841"/>
            <a:ext cx="6619461" cy="73205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E2AF9E1-A654-A04A-BDB8-5459564AB2E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190" y="5857529"/>
            <a:ext cx="7182181" cy="724340"/>
          </a:xfrm>
          <a:prstGeom prst="rect">
            <a:avLst/>
          </a:prstGeom>
        </p:spPr>
      </p:pic>
      <p:sp>
        <p:nvSpPr>
          <p:cNvPr id="41" name="object 45">
            <a:extLst>
              <a:ext uri="{FF2B5EF4-FFF2-40B4-BE49-F238E27FC236}">
                <a16:creationId xmlns:a16="http://schemas.microsoft.com/office/drawing/2014/main" id="{40CE28F5-6162-E44A-A2D8-9AB13F50AB15}"/>
              </a:ext>
            </a:extLst>
          </p:cNvPr>
          <p:cNvSpPr txBox="1"/>
          <p:nvPr/>
        </p:nvSpPr>
        <p:spPr>
          <a:xfrm>
            <a:off x="7712707" y="2407802"/>
            <a:ext cx="4661323" cy="775386"/>
          </a:xfrm>
          <a:prstGeom prst="rect">
            <a:avLst/>
          </a:prstGeom>
        </p:spPr>
        <p:txBody>
          <a:bodyPr vert="horz" wrap="square" lIns="0" tIns="12059" rIns="0" bIns="0" rtlCol="0">
            <a:spAutoFit/>
          </a:bodyPr>
          <a:lstStyle/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Connected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TV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dirty="0">
                <a:solidFill>
                  <a:srgbClr val="FFFFFF"/>
                </a:solidFill>
                <a:latin typeface="Gotham"/>
                <a:cs typeface="Gotham"/>
              </a:rPr>
              <a:t>is</a:t>
            </a:r>
            <a:r>
              <a:rPr lang="en-US" sz="1599" b="1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a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dirty="0">
                <a:solidFill>
                  <a:srgbClr val="FFFFFF"/>
                </a:solidFill>
                <a:latin typeface="Gotham"/>
                <a:cs typeface="Gotham"/>
              </a:rPr>
              <a:t>a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 tipping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point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lang="en-US" sz="1599" b="1" spc="10" dirty="0">
                <a:solidFill>
                  <a:srgbClr val="FFFFFF"/>
                </a:solidFill>
                <a:latin typeface="Gotham"/>
                <a:cs typeface="Gotham"/>
              </a:rPr>
              <a:t>–</a:t>
            </a:r>
            <a:r>
              <a:rPr sz="1599" b="1" spc="2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endParaRPr lang="en-US" sz="1599" b="1" spc="25" dirty="0">
              <a:solidFill>
                <a:srgbClr val="FFFFFF"/>
              </a:solidFill>
              <a:latin typeface="Gotham"/>
              <a:cs typeface="Gotham"/>
            </a:endParaRPr>
          </a:p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discover </a:t>
            </a:r>
            <a:r>
              <a:rPr sz="1599" b="1" spc="-5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how</a:t>
            </a:r>
            <a:r>
              <a:rPr sz="1599" b="1" spc="35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to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10" dirty="0">
                <a:solidFill>
                  <a:srgbClr val="FFFFFF"/>
                </a:solidFill>
                <a:latin typeface="Gotham"/>
                <a:cs typeface="Gotham"/>
              </a:rPr>
              <a:t>add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i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5" dirty="0">
                <a:solidFill>
                  <a:srgbClr val="FFFFFF"/>
                </a:solidFill>
                <a:latin typeface="Gotham"/>
                <a:cs typeface="Gotham"/>
              </a:rPr>
              <a:t>into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endParaRPr lang="en-US" sz="1599" b="1" spc="40" dirty="0">
              <a:solidFill>
                <a:srgbClr val="FFFFFF"/>
              </a:solidFill>
              <a:latin typeface="Gotham"/>
              <a:cs typeface="Gotham"/>
            </a:endParaRPr>
          </a:p>
          <a:p>
            <a:pPr marL="12694" marR="5077" indent="-635" algn="ctr">
              <a:lnSpc>
                <a:spcPct val="101299"/>
              </a:lnSpc>
              <a:spcBef>
                <a:spcPts val="95"/>
              </a:spcBef>
            </a:pPr>
            <a:r>
              <a:rPr sz="1599" b="1" spc="-25" dirty="0">
                <a:solidFill>
                  <a:srgbClr val="FFFFFF"/>
                </a:solidFill>
                <a:latin typeface="Gotham"/>
                <a:cs typeface="Gotham"/>
              </a:rPr>
              <a:t>your </a:t>
            </a:r>
            <a:r>
              <a:rPr sz="1599" b="1" spc="-2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-15" dirty="0">
                <a:solidFill>
                  <a:srgbClr val="FFFFFF"/>
                </a:solidFill>
                <a:latin typeface="Gotham"/>
                <a:cs typeface="Gotham"/>
              </a:rPr>
              <a:t>next</a:t>
            </a:r>
            <a:r>
              <a:rPr sz="1599" b="1" spc="40" dirty="0">
                <a:solidFill>
                  <a:srgbClr val="FFFFFF"/>
                </a:solidFill>
                <a:latin typeface="Gotham"/>
                <a:cs typeface="Gotham"/>
              </a:rPr>
              <a:t> </a:t>
            </a:r>
            <a:r>
              <a:rPr sz="1599" b="1" spc="5" dirty="0">
                <a:solidFill>
                  <a:srgbClr val="FFFFFF"/>
                </a:solidFill>
                <a:latin typeface="Gotham"/>
                <a:cs typeface="Gotham"/>
              </a:rPr>
              <a:t>campaign.</a:t>
            </a:r>
            <a:endParaRPr sz="1599" dirty="0">
              <a:latin typeface="Gotham"/>
              <a:cs typeface="Gotham"/>
            </a:endParaRPr>
          </a:p>
        </p:txBody>
      </p:sp>
    </p:spTree>
    <p:extLst>
      <p:ext uri="{BB962C8B-B14F-4D97-AF65-F5344CB8AC3E}">
        <p14:creationId xmlns:p14="http://schemas.microsoft.com/office/powerpoint/2010/main" val="1904453595"/>
      </p:ext>
    </p:extLst>
  </p:cSld>
  <p:clrMapOvr>
    <a:masterClrMapping/>
  </p:clrMapOvr>
  <mc:AlternateContent xmlns:mc="http://schemas.openxmlformats.org/markup-compatibility/2006" xmlns:p15="http://schemas.microsoft.com/office/powerpoint/2012/main">
    <mc:Choice Requires="p15">
      <p:transition xmlns:p14="http://schemas.microsoft.com/office/powerpoint/2010/main" spd="slow" p14:dur="1250">
        <p15:prstTrans prst="pageCurlDouble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5A40AD2-824E-A74A-8B44-1A9DFF60E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0CE38E-58D8-4BE4-9BFA-4B9096E5DB5D}" type="slidenum">
              <a:rPr lang="en-US" smtClean="0"/>
              <a:pPr/>
              <a:t>7</a:t>
            </a:fld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251045A-270C-C042-847E-F23B75ACFBF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130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095CDC4-79B2-8448-9B66-D6AB53E9AB38}"/>
              </a:ext>
            </a:extLst>
          </p:cNvPr>
          <p:cNvSpPr/>
          <p:nvPr/>
        </p:nvSpPr>
        <p:spPr>
          <a:xfrm>
            <a:off x="9" y="0"/>
            <a:ext cx="12191991" cy="1161816"/>
          </a:xfrm>
          <a:prstGeom prst="rect">
            <a:avLst/>
          </a:prstGeom>
          <a:solidFill>
            <a:srgbClr val="0E15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PH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9C796BEB-EF39-4E4C-ACB5-A9D2309FEA3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9042" y="-90663"/>
            <a:ext cx="7937500" cy="1282700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6FABADAD-A92F-4648-B115-12CFD003A8A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51611" y="341306"/>
            <a:ext cx="1404815" cy="57895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AF8841B-1296-FB4C-87D7-B899C1E9403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181980" y="52264"/>
            <a:ext cx="1485900" cy="228600"/>
          </a:xfrm>
          <a:prstGeom prst="rect">
            <a:avLst/>
          </a:prstGeom>
        </p:spPr>
      </p:pic>
      <p:pic>
        <p:nvPicPr>
          <p:cNvPr id="14" name="Picture 13" descr="A picture containing text&#10;&#10;Description automatically generated">
            <a:extLst>
              <a:ext uri="{FF2B5EF4-FFF2-40B4-BE49-F238E27FC236}">
                <a16:creationId xmlns:a16="http://schemas.microsoft.com/office/drawing/2014/main" id="{A83DF824-66B8-9344-B60A-6283523D5A9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53656" y="166564"/>
            <a:ext cx="1863726" cy="981128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104687A0-68A1-3044-8C1C-324D0586321B}"/>
              </a:ext>
            </a:extLst>
          </p:cNvPr>
          <p:cNvSpPr/>
          <p:nvPr/>
        </p:nvSpPr>
        <p:spPr>
          <a:xfrm>
            <a:off x="860446" y="1175909"/>
            <a:ext cx="1021556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2400" b="1" cap="all" dirty="0">
                <a:solidFill>
                  <a:srgbClr val="FFFFFF"/>
                </a:solidFill>
                <a:latin typeface="Gotham A" pitchFamily="2" charset="0"/>
              </a:rPr>
              <a:t>TURNING THE CUSTOMER EXPERIENCE (CX) INTO A COMPETITIVE ADVANTAGE</a:t>
            </a:r>
          </a:p>
          <a:p>
            <a:pPr algn="ctr">
              <a:defRPr/>
            </a:pPr>
            <a:endParaRPr lang="en-US" sz="2400" b="1" cap="all" dirty="0">
              <a:solidFill>
                <a:srgbClr val="FFFFFF"/>
              </a:solidFill>
              <a:latin typeface="Gotham A" pitchFamily="2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all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otham A" pitchFamily="2" charset="0"/>
                <a:ea typeface="+mn-ea"/>
                <a:cs typeface="+mn-cs"/>
              </a:rPr>
              <a:t>JOIN THE FINAL SESSION!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all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otham A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5D0A37A-4092-D549-B317-6B1CFE149E04}"/>
              </a:ext>
            </a:extLst>
          </p:cNvPr>
          <p:cNvSpPr/>
          <p:nvPr/>
        </p:nvSpPr>
        <p:spPr>
          <a:xfrm>
            <a:off x="2565088" y="2369425"/>
            <a:ext cx="6439159" cy="4347291"/>
          </a:xfrm>
          <a:prstGeom prst="rect">
            <a:avLst/>
          </a:prstGeom>
          <a:solidFill>
            <a:srgbClr val="0D143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8" name="Graphic 27" descr="Cell Tower outline">
            <a:extLst>
              <a:ext uri="{FF2B5EF4-FFF2-40B4-BE49-F238E27FC236}">
                <a16:creationId xmlns:a16="http://schemas.microsoft.com/office/drawing/2014/main" id="{B00D6DF3-5B11-614A-9E63-A6427E8E26B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160228" y="2627897"/>
            <a:ext cx="1248881" cy="980590"/>
          </a:xfrm>
          <a:prstGeom prst="rect">
            <a:avLst/>
          </a:prstGeom>
        </p:spPr>
      </p:pic>
      <p:pic>
        <p:nvPicPr>
          <p:cNvPr id="32" name="Graphic 31" descr="Flip calendar outline">
            <a:extLst>
              <a:ext uri="{FF2B5EF4-FFF2-40B4-BE49-F238E27FC236}">
                <a16:creationId xmlns:a16="http://schemas.microsoft.com/office/drawing/2014/main" id="{D4BC1007-0CCD-DF4A-A23E-F4C293345C5C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104926" y="3607672"/>
            <a:ext cx="508057" cy="398914"/>
          </a:xfrm>
          <a:prstGeom prst="rect">
            <a:avLst/>
          </a:prstGeom>
        </p:spPr>
      </p:pic>
      <p:sp>
        <p:nvSpPr>
          <p:cNvPr id="35" name="Rounded Rectangle 34">
            <a:extLst>
              <a:ext uri="{FF2B5EF4-FFF2-40B4-BE49-F238E27FC236}">
                <a16:creationId xmlns:a16="http://schemas.microsoft.com/office/drawing/2014/main" id="{9BAFA966-5725-314C-8FB6-B1D17C13C9A1}"/>
              </a:ext>
            </a:extLst>
          </p:cNvPr>
          <p:cNvSpPr/>
          <p:nvPr/>
        </p:nvSpPr>
        <p:spPr>
          <a:xfrm>
            <a:off x="4619492" y="5884346"/>
            <a:ext cx="2282668" cy="398914"/>
          </a:xfrm>
          <a:prstGeom prst="roundRect">
            <a:avLst/>
          </a:prstGeom>
          <a:solidFill>
            <a:srgbClr val="377EA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EGISTER NOW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0985AC71-DFE4-9E46-BC9B-CD57B96F22B8}"/>
              </a:ext>
            </a:extLst>
          </p:cNvPr>
          <p:cNvSpPr txBox="1"/>
          <p:nvPr/>
        </p:nvSpPr>
        <p:spPr>
          <a:xfrm>
            <a:off x="5676901" y="3656609"/>
            <a:ext cx="1225259" cy="39606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Y 18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340BF91F-604C-224F-A772-18ABF5828F06}"/>
              </a:ext>
            </a:extLst>
          </p:cNvPr>
          <p:cNvSpPr txBox="1"/>
          <p:nvPr/>
        </p:nvSpPr>
        <p:spPr>
          <a:xfrm>
            <a:off x="3402957" y="4170246"/>
            <a:ext cx="4953965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OTHAM-BOOK" panose="02000504050000020004" pitchFamily="2" charset="0"/>
                <a:ea typeface="+mn-ea"/>
                <a:cs typeface="+mn-cs"/>
              </a:rPr>
              <a:t>The Future Of Messaging: How Companies Should Prepare for the Next Generation of Messag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OTHAM-BOOK" panose="02000504050000020004" pitchFamily="2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ich messaging will become a more critical part of the customer journey in the future….</a:t>
            </a:r>
          </a:p>
        </p:txBody>
      </p:sp>
    </p:spTree>
    <p:extLst>
      <p:ext uri="{BB962C8B-B14F-4D97-AF65-F5344CB8AC3E}">
        <p14:creationId xmlns:p14="http://schemas.microsoft.com/office/powerpoint/2010/main" val="221981856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12E25B-C3E9-E24A-AD57-505E45055E1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PH" dirty="0">
                <a:cs typeface="Gotham Bold" pitchFamily="50" charset="0"/>
              </a:rPr>
              <a:t>Asking Questions, Sharing Insights</a:t>
            </a:r>
            <a:endParaRPr lang="en-PL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3D4B65E-9CB5-4749-A33D-2B992330EEEB}"/>
              </a:ext>
            </a:extLst>
          </p:cNvPr>
          <p:cNvSpPr txBox="1">
            <a:spLocks/>
          </p:cNvSpPr>
          <p:nvPr/>
        </p:nvSpPr>
        <p:spPr>
          <a:xfrm>
            <a:off x="5364481" y="6306902"/>
            <a:ext cx="6945708" cy="3960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kern="1200">
                <a:solidFill>
                  <a:srgbClr val="1B75BC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#MMA   #</a:t>
            </a:r>
            <a:r>
              <a:rPr lang="en-US" sz="2400" dirty="0" err="1">
                <a:solidFill>
                  <a:schemeClr val="bg1"/>
                </a:solidFill>
              </a:rPr>
              <a:t>WeAreInItTogether</a:t>
            </a:r>
            <a:r>
              <a:rPr lang="en-US" sz="2400" dirty="0">
                <a:solidFill>
                  <a:schemeClr val="bg1"/>
                </a:solidFill>
              </a:rPr>
              <a:t>    #</a:t>
            </a:r>
            <a:r>
              <a:rPr lang="en-US" sz="2400" dirty="0" err="1">
                <a:solidFill>
                  <a:schemeClr val="bg1"/>
                </a:solidFill>
              </a:rPr>
              <a:t>ShapeTheFuture</a:t>
            </a:r>
            <a:endParaRPr lang="en-US" sz="2400" dirty="0">
              <a:solidFill>
                <a:schemeClr val="bg1"/>
              </a:solidFill>
            </a:endParaRPr>
          </a:p>
        </p:txBody>
      </p:sp>
      <p:pic>
        <p:nvPicPr>
          <p:cNvPr id="7" name="Picture 6" descr="A screenshot of a cell phone&#10;&#10;Description automatically generated">
            <a:extLst>
              <a:ext uri="{FF2B5EF4-FFF2-40B4-BE49-F238E27FC236}">
                <a16:creationId xmlns:a16="http://schemas.microsoft.com/office/drawing/2014/main" id="{204143DB-3941-0A4E-90FB-0B75D6491CC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7207" y="1965695"/>
            <a:ext cx="4224535" cy="1494124"/>
          </a:xfrm>
          <a:prstGeom prst="rect">
            <a:avLst/>
          </a:prstGeom>
          <a:effectLst>
            <a:outerShdw blurRad="368300" dist="50800" dir="5400000" sx="102000" sy="102000" algn="ctr" rotWithShape="0">
              <a:srgbClr val="000000">
                <a:alpha val="89000"/>
              </a:srgbClr>
            </a:outerShdw>
          </a:effectLst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9DC805C2-6A4C-8146-84E9-4D4D2DF480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49818" flipH="1">
            <a:off x="4172018" y="5464475"/>
            <a:ext cx="1396055" cy="107115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5E0CA129-A238-E14E-85FA-DFFEDC398226}"/>
              </a:ext>
            </a:extLst>
          </p:cNvPr>
          <p:cNvSpPr/>
          <p:nvPr/>
        </p:nvSpPr>
        <p:spPr>
          <a:xfrm rot="21226210">
            <a:off x="4604218" y="5405614"/>
            <a:ext cx="567784" cy="101566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6000" b="1" dirty="0"/>
              <a:t>#</a:t>
            </a:r>
            <a:endParaRPr lang="en-PL" sz="6000" dirty="0"/>
          </a:p>
        </p:txBody>
      </p:sp>
    </p:spTree>
    <p:extLst>
      <p:ext uri="{BB962C8B-B14F-4D97-AF65-F5344CB8AC3E}">
        <p14:creationId xmlns:p14="http://schemas.microsoft.com/office/powerpoint/2010/main" val="28245787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oYAdAcQqG_KmhxYTnW2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theme/theme1.xml><?xml version="1.0" encoding="utf-8"?>
<a:theme xmlns:a="http://schemas.openxmlformats.org/drawingml/2006/main" name="2_Office Theme">
  <a:themeElements>
    <a:clrScheme name="Custom 52">
      <a:dk1>
        <a:srgbClr val="000000"/>
      </a:dk1>
      <a:lt1>
        <a:srgbClr val="FFFFFF"/>
      </a:lt1>
      <a:dk2>
        <a:srgbClr val="FFFFFF"/>
      </a:dk2>
      <a:lt2>
        <a:srgbClr val="000000"/>
      </a:lt2>
      <a:accent1>
        <a:srgbClr val="0072BA"/>
      </a:accent1>
      <a:accent2>
        <a:srgbClr val="F37021"/>
      </a:accent2>
      <a:accent3>
        <a:srgbClr val="58595B"/>
      </a:accent3>
      <a:accent4>
        <a:srgbClr val="06798D"/>
      </a:accent4>
      <a:accent5>
        <a:srgbClr val="700056"/>
      </a:accent5>
      <a:accent6>
        <a:srgbClr val="BE1D2C"/>
      </a:accent6>
      <a:hlink>
        <a:srgbClr val="0563C1"/>
      </a:hlink>
      <a:folHlink>
        <a:srgbClr val="F37021"/>
      </a:folHlink>
    </a:clrScheme>
    <a:fontScheme name="Custom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58595B"/>
          </a:solidFill>
          <a:tailEnd type="triangl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wrap="square" rtlCol="0">
        <a:noAutofit/>
      </a:bodyPr>
      <a:lstStyle>
        <a:defPPr marL="457200" indent="-457200">
          <a:spcBef>
            <a:spcPts val="587"/>
          </a:spcBef>
          <a:buSzPct val="100000"/>
          <a:buBlip>
            <a:blip xmlns:r="http://schemas.openxmlformats.org/officeDocument/2006/relationships" r:embed="rId1"/>
          </a:buBlip>
          <a:defRPr sz="2800" dirty="0" err="1" smtClean="0">
            <a:solidFill>
              <a:schemeClr val="bg2">
                <a:lumMod val="7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BM 2019 Master template (black background)">
  <a:themeElements>
    <a:clrScheme name="Custom 3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408BFC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685983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n-lt"/>
            <a:ea typeface="IBM Plex Sans" charset="0"/>
            <a:cs typeface="IBM Plex Sans" charset="0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bg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rial" id="{1A4DA36A-8F0F-7E4A-B00D-DA1BD81F28CD}" vid="{449138CC-BE08-C448-8CE4-98E7BCFE6AE4}"/>
    </a:ext>
  </a:extLst>
</a:theme>
</file>

<file path=ppt/theme/theme3.xml><?xml version="1.0" encoding="utf-8"?>
<a:theme xmlns:a="http://schemas.openxmlformats.org/drawingml/2006/main" name="IBM 2019 Master template (light gray background)">
  <a:themeElements>
    <a:clrScheme name="Custom 5">
      <a:dk1>
        <a:srgbClr val="FFFFFF"/>
      </a:dk1>
      <a:lt1>
        <a:srgbClr val="000000"/>
      </a:lt1>
      <a:dk2>
        <a:srgbClr val="565656"/>
      </a:dk2>
      <a:lt2>
        <a:srgbClr val="F3F3F3"/>
      </a:lt2>
      <a:accent1>
        <a:srgbClr val="6F6F6F"/>
      </a:accent1>
      <a:accent2>
        <a:srgbClr val="0062FF"/>
      </a:accent2>
      <a:accent3>
        <a:srgbClr val="D12765"/>
      </a:accent3>
      <a:accent4>
        <a:srgbClr val="8A3FFC"/>
      </a:accent4>
      <a:accent5>
        <a:srgbClr val="007D79"/>
      </a:accent5>
      <a:accent6>
        <a:srgbClr val="697077"/>
      </a:accent6>
      <a:hlink>
        <a:srgbClr val="0062FF"/>
      </a:hlink>
      <a:folHlink>
        <a:srgbClr val="6EA6F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9050">
          <a:solidFill>
            <a:schemeClr val="accent2"/>
          </a:solidFill>
          <a:headEnd type="none" w="med" len="med"/>
          <a:tailEnd type="none" w="med" len="med"/>
        </a:ln>
        <a:effectLst/>
      </a:spPr>
      <a:bodyPr vert="horz" wrap="square" lIns="36000" tIns="36000" rIns="36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9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+mn-lt"/>
          </a:defRPr>
        </a:defPPr>
      </a:lstStyle>
      <a:style>
        <a:lnRef idx="2">
          <a:schemeClr val="accent6"/>
        </a:lnRef>
        <a:fillRef idx="1">
          <a:schemeClr val="lt1"/>
        </a:fillRef>
        <a:effectRef idx="0">
          <a:schemeClr val="accent6"/>
        </a:effectRef>
        <a:fontRef idx="minor">
          <a:schemeClr val="dk1"/>
        </a:fontRef>
      </a:style>
    </a:spDef>
    <a:lnDef>
      <a:spPr bwMode="auto">
        <a:ln w="19050">
          <a:solidFill>
            <a:schemeClr val="bg1"/>
          </a:solidFill>
          <a:headEnd type="none" w="med" len="med"/>
          <a:tailEnd type="none" w="med" len="med"/>
        </a:ln>
        <a:effectLst/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sz="1400" dirty="0" smtClean="0">
            <a:solidFill>
              <a:schemeClr val="tx1"/>
            </a:solidFill>
            <a:latin typeface="+mn-lt"/>
            <a:ea typeface="IBM Plex Sans" charset="0"/>
            <a:cs typeface="IBM Plex Sans" charset="0"/>
          </a:defRPr>
        </a:defPPr>
      </a:lstStyle>
    </a:txDef>
  </a:objectDefaults>
  <a:extraClrSchemeLst/>
  <a:custClrLst>
    <a:custClr name="Magenta 100">
      <a:srgbClr val="2A0A16"/>
    </a:custClr>
    <a:custClr name="Magenta 90">
      <a:srgbClr val="57002B"/>
    </a:custClr>
    <a:custClr name="Magenta 80">
      <a:srgbClr val="760A3A"/>
    </a:custClr>
    <a:custClr name="Magenta 70">
      <a:srgbClr val="A11950"/>
    </a:custClr>
    <a:custClr name="Magenta 60">
      <a:srgbClr val="D12765"/>
    </a:custClr>
    <a:custClr name="Magenta 50">
      <a:srgbClr val="EE538B"/>
    </a:custClr>
    <a:custClr name="Magenta 40">
      <a:srgbClr val="FA75A6"/>
    </a:custClr>
    <a:custClr name="Magenta 30">
      <a:srgbClr val="FFA0C2"/>
    </a:custClr>
    <a:custClr name="Magenta 20">
      <a:srgbClr val="FFCFE1"/>
    </a:custClr>
    <a:custClr name="Magenta 10">
      <a:srgbClr val="FFF0F6"/>
    </a:custClr>
    <a:custClr name="Purple 100">
      <a:srgbClr val="1E1033"/>
    </a:custClr>
    <a:custClr name="Purple 90">
      <a:srgbClr val="38146B"/>
    </a:custClr>
    <a:custClr name="Purple 80">
      <a:srgbClr val="4F2196"/>
    </a:custClr>
    <a:custClr name="Purple 70">
      <a:srgbClr val="6E32C9"/>
    </a:custClr>
    <a:custClr name="Purple 60">
      <a:srgbClr val="8A3FFC"/>
    </a:custClr>
    <a:custClr name="Purple 50">
      <a:srgbClr val="A66EFA"/>
    </a:custClr>
    <a:custClr name="Purple 40">
      <a:srgbClr val="BB8EFF"/>
    </a:custClr>
    <a:custClr name="Purple 30">
      <a:srgbClr val="D0B0FF"/>
    </a:custClr>
    <a:custClr name="Purple 20">
      <a:srgbClr val="E6D6FF"/>
    </a:custClr>
    <a:custClr name="Purple 10">
      <a:srgbClr val="F7F1FF"/>
    </a:custClr>
    <a:custClr name="Blue 100">
      <a:srgbClr val="051243"/>
    </a:custClr>
    <a:custClr name="Blue 90">
      <a:srgbClr val="061F80"/>
    </a:custClr>
    <a:custClr name="Blue 80">
      <a:srgbClr val="0530AD"/>
    </a:custClr>
    <a:custClr name="Blue 70">
      <a:srgbClr val="054ADA"/>
    </a:custClr>
    <a:custClr name="Blue 60">
      <a:srgbClr val="0062FF"/>
    </a:custClr>
    <a:custClr name="Blue 50">
      <a:srgbClr val="408BFC"/>
    </a:custClr>
    <a:custClr name="Blue 40">
      <a:srgbClr val="6EA6FF"/>
    </a:custClr>
    <a:custClr name="Blue 30">
      <a:srgbClr val="97C1FF"/>
    </a:custClr>
    <a:custClr name="Blue 20">
      <a:srgbClr val="C9DEFF"/>
    </a:custClr>
    <a:custClr name="Blue 10">
      <a:srgbClr val="EDF4FF"/>
    </a:custClr>
    <a:custClr name="Teal 100">
      <a:srgbClr val="081A1C"/>
    </a:custClr>
    <a:custClr name="Teal 90">
      <a:srgbClr val="003137"/>
    </a:custClr>
    <a:custClr name="Teal 80">
      <a:srgbClr val="004548"/>
    </a:custClr>
    <a:custClr name="Teal 70">
      <a:srgbClr val="006161"/>
    </a:custClr>
    <a:custClr name="Teal 60">
      <a:srgbClr val="007D79"/>
    </a:custClr>
    <a:custClr name="Teal 50">
      <a:srgbClr val="009C98"/>
    </a:custClr>
    <a:custClr name="Teal 40">
      <a:srgbClr val="00BAB6"/>
    </a:custClr>
    <a:custClr name="Teal 30">
      <a:srgbClr val="20D5D2"/>
    </a:custClr>
    <a:custClr name="Teal 20">
      <a:srgbClr val="92EEEE"/>
    </a:custClr>
    <a:custClr name="Teal 10">
      <a:srgbClr val="DBFBFB"/>
    </a:custClr>
    <a:custClr name="Gray 100">
      <a:srgbClr val="171717"/>
    </a:custClr>
    <a:custClr name="Gray 90">
      <a:srgbClr val="282828"/>
    </a:custClr>
    <a:custClr name="Gray 80">
      <a:srgbClr val="3D3D3D"/>
    </a:custClr>
    <a:custClr name="Gray 70">
      <a:srgbClr val="565656"/>
    </a:custClr>
    <a:custClr name="Gray 60">
      <a:srgbClr val="6F6F6F"/>
    </a:custClr>
    <a:custClr name="Gray 50">
      <a:srgbClr val="8C8C8C"/>
    </a:custClr>
    <a:custClr name="Gray 40">
      <a:srgbClr val="A4A4A4"/>
    </a:custClr>
    <a:custClr name="Gray 30">
      <a:srgbClr val="BEBEBE"/>
    </a:custClr>
    <a:custClr name="Gray 20">
      <a:srgbClr val="DCDCDC"/>
    </a:custClr>
    <a:custClr name="Gray 10">
      <a:srgbClr val="F3F3F3"/>
    </a:custClr>
  </a:custClrLst>
  <a:extLst>
    <a:ext uri="{05A4C25C-085E-4340-85A3-A5531E510DB2}">
      <thm15:themeFamily xmlns:thm15="http://schemas.microsoft.com/office/thememl/2012/main" name="IBM_Master_Presentation_2019_V01_Arial" id="{1A4DA36A-8F0F-7E4A-B00D-DA1BD81F28CD}" vid="{C70800EF-75D1-A541-A034-3E6BB83D0CD2}"/>
    </a:ext>
  </a:extLst>
</a:theme>
</file>

<file path=ppt/theme/theme4.xml><?xml version="1.0" encoding="utf-8"?>
<a:theme xmlns:a="http://schemas.openxmlformats.org/drawingml/2006/main" name="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5.xml><?xml version="1.0" encoding="utf-8"?>
<a:theme xmlns:a="http://schemas.openxmlformats.org/drawingml/2006/main" name="wht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D33E200D-9260-B64E-B6F1-29276819CA4F}"/>
    </a:ext>
  </a:extLst>
</a:theme>
</file>

<file path=ppt/theme/theme6.xml><?xml version="1.0" encoding="utf-8"?>
<a:theme xmlns:a="http://schemas.openxmlformats.org/drawingml/2006/main" name="1_gry_background_2017">
  <a:themeElements>
    <a:clrScheme name="Custom 4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BB8EFF"/>
      </a:accent4>
      <a:accent5>
        <a:srgbClr val="6E177D"/>
      </a:accent5>
      <a:accent6>
        <a:srgbClr val="20D5D2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atson_presentation_template" id="{3596A0D1-ED97-224C-9AC3-B3B1AFFC03F1}" vid="{6953F3BD-CE26-1C45-A1F7-4E573E5A752B}"/>
    </a:ext>
  </a:extLst>
</a:theme>
</file>

<file path=ppt/theme/theme7.xml><?xml version="1.0" encoding="utf-8"?>
<a:theme xmlns:a="http://schemas.openxmlformats.org/drawingml/2006/main" name="2_gry_background_2017">
  <a:themeElements>
    <a:clrScheme name="IBM Master Presentation 20170523 1">
      <a:dk1>
        <a:srgbClr val="000000"/>
      </a:dk1>
      <a:lt1>
        <a:srgbClr val="000E5E"/>
      </a:lt1>
      <a:dk2>
        <a:srgbClr val="EAEAEA"/>
      </a:dk2>
      <a:lt2>
        <a:srgbClr val="FFFFFF"/>
      </a:lt2>
      <a:accent1>
        <a:srgbClr val="69A6FF"/>
      </a:accent1>
      <a:accent2>
        <a:srgbClr val="0064FF"/>
      </a:accent2>
      <a:accent3>
        <a:srgbClr val="003BC9"/>
      </a:accent3>
      <a:accent4>
        <a:srgbClr val="1FB3CF"/>
      </a:accent4>
      <a:accent5>
        <a:srgbClr val="6E177D"/>
      </a:accent5>
      <a:accent6>
        <a:srgbClr val="DB2663"/>
      </a:accent6>
      <a:hlink>
        <a:srgbClr val="0064FF"/>
      </a:hlink>
      <a:folHlink>
        <a:srgbClr val="E0E0E0"/>
      </a:folHlink>
    </a:clrScheme>
    <a:fontScheme name="IBM Master PPT Template">
      <a:majorFont>
        <a:latin typeface="IBM Plex Sans"/>
        <a:ea typeface=""/>
        <a:cs typeface=""/>
      </a:majorFont>
      <a:minorFont>
        <a:latin typeface="IBM Plex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wrap="square" lIns="0" tIns="0" rIns="0" bIns="0">
        <a:noAutofit/>
      </a:bodyPr>
      <a:lstStyle>
        <a:defPPr>
          <a:defRPr sz="1200" dirty="0" err="1">
            <a:solidFill>
              <a:srgbClr val="FFFFFF"/>
            </a:solidFill>
            <a:latin typeface="Arial"/>
            <a:cs typeface="Arial"/>
          </a:defRPr>
        </a:defPPr>
      </a:lstStyle>
    </a:spDef>
    <a:lnDef>
      <a:spPr>
        <a:ln w="6350">
          <a:solidFill>
            <a:schemeClr val="tx2">
              <a:lumMod val="50000"/>
            </a:schemeClr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IBM_Master_Presentation_2017_v23_plex" id="{9703D799-5C8D-3249-8B0E-7EB5E8B92432}" vid="{318F3B17-FA30-F547-974D-88ACE0AED250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82</TotalTime>
  <Words>1024</Words>
  <Application>Microsoft Macintosh PowerPoint</Application>
  <PresentationFormat>Widescreen</PresentationFormat>
  <Paragraphs>164</Paragraphs>
  <Slides>15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8" baseType="lpstr">
      <vt:lpstr>.AppleSystemUIFont</vt:lpstr>
      <vt:lpstr>Arial</vt:lpstr>
      <vt:lpstr>Calibri</vt:lpstr>
      <vt:lpstr>Calibri Light</vt:lpstr>
      <vt:lpstr>Gotham</vt:lpstr>
      <vt:lpstr>Gotham A</vt:lpstr>
      <vt:lpstr>GOTHAM-BOOK</vt:lpstr>
      <vt:lpstr>Helvetica</vt:lpstr>
      <vt:lpstr>Helvetica Neue</vt:lpstr>
      <vt:lpstr>Helvetica Neue Medium</vt:lpstr>
      <vt:lpstr>HelvNeue Light for IBM</vt:lpstr>
      <vt:lpstr>IBM Plex Sans</vt:lpstr>
      <vt:lpstr>Wingdings</vt:lpstr>
      <vt:lpstr>2_Office Theme</vt:lpstr>
      <vt:lpstr>IBM 2019 Master template (black background)</vt:lpstr>
      <vt:lpstr>IBM 2019 Master template (light gray background)</vt:lpstr>
      <vt:lpstr>gry_background_2017</vt:lpstr>
      <vt:lpstr>wht_background_2017</vt:lpstr>
      <vt:lpstr>1_gry_background_2017</vt:lpstr>
      <vt:lpstr>2_gry_background_2017</vt:lpstr>
      <vt:lpstr>Office Theme</vt:lpstr>
      <vt:lpstr>White</vt:lpstr>
      <vt:lpstr>think-cell Slide</vt:lpstr>
      <vt:lpstr>PowerPoint Presentation</vt:lpstr>
      <vt:lpstr>MMA is the Global Industry Association for Marketing</vt:lpstr>
      <vt:lpstr>MMA Is 800+ Members Strong MARKETERS, AGENCIES, MEDIA SELLERS, TECHNOLOGY &amp; SOLUTION PROVIDERS</vt:lpstr>
      <vt:lpstr>MMA Mission: Architecting the Future of Marketing While Relentlessly Delivering Growth Today! </vt:lpstr>
      <vt:lpstr>PowerPoint Presentation</vt:lpstr>
      <vt:lpstr>PowerPoint Presentation</vt:lpstr>
      <vt:lpstr>PowerPoint Presentation</vt:lpstr>
      <vt:lpstr>PowerPoint Presentation</vt:lpstr>
      <vt:lpstr>Asking Questions, Sharing Insights</vt:lpstr>
      <vt:lpstr>Messaging Webinar Series:  The Future Of Messaging - How Companies Should Prepare For The Next-Generation Of Messaging</vt:lpstr>
      <vt:lpstr>PowerPoint Presentation</vt:lpstr>
      <vt:lpstr>Sinch creates compelling customer experiences across formats</vt:lpstr>
      <vt:lpstr>PowerPoint Presentation</vt:lpstr>
      <vt:lpstr>Asking Questions, Sharing Insight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alini Nagaria</dc:creator>
  <cp:lastModifiedBy>Werner Puchert</cp:lastModifiedBy>
  <cp:revision>213</cp:revision>
  <dcterms:created xsi:type="dcterms:W3CDTF">2020-01-09T15:49:02Z</dcterms:created>
  <dcterms:modified xsi:type="dcterms:W3CDTF">2021-05-19T08:05:04Z</dcterms:modified>
</cp:coreProperties>
</file>